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8"/>
  </p:notesMasterIdLst>
  <p:sldIdLst>
    <p:sldId id="256" r:id="rId5"/>
    <p:sldId id="2147309295" r:id="rId6"/>
    <p:sldId id="2147309296" r:id="rId7"/>
    <p:sldId id="2147309357" r:id="rId8"/>
    <p:sldId id="2147309352" r:id="rId9"/>
    <p:sldId id="5066" r:id="rId10"/>
    <p:sldId id="2147309359" r:id="rId11"/>
    <p:sldId id="2147309360" r:id="rId12"/>
    <p:sldId id="2147309361" r:id="rId13"/>
    <p:sldId id="2147309358" r:id="rId14"/>
    <p:sldId id="2147309307" r:id="rId15"/>
    <p:sldId id="2147309299" r:id="rId16"/>
    <p:sldId id="2147309294" r:id="rId17"/>
  </p:sldIdLst>
  <p:sldSz cx="9144000" cy="5143500" type="screen16x9"/>
  <p:notesSz cx="6858000" cy="9144000"/>
  <p:defaultTextStyle>
    <a:defPPr>
      <a:defRPr lang="nb-NO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7B98A"/>
    <a:srgbClr val="43B7B0"/>
    <a:srgbClr val="229BCB"/>
    <a:srgbClr val="BBAC76"/>
    <a:srgbClr val="0D347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43C7DC9-C91E-4363-92E0-1F34C5F4D893}" v="37" dt="2023-12-13T10:04:31.29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203" d="100"/>
          <a:sy n="203" d="100"/>
        </p:scale>
        <p:origin x="3132" y="-654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da Kristin Antonsen" userId="bde19a52-55f1-43bd-811b-e9a6e105a932" providerId="ADAL" clId="{443C7DC9-C91E-4363-92E0-1F34C5F4D893}"/>
    <pc:docChg chg="undo custSel addSld delSld modSld sldOrd">
      <pc:chgData name="Ida Kristin Antonsen" userId="bde19a52-55f1-43bd-811b-e9a6e105a932" providerId="ADAL" clId="{443C7DC9-C91E-4363-92E0-1F34C5F4D893}" dt="2023-12-14T09:16:21.101" v="594" actId="1076"/>
      <pc:docMkLst>
        <pc:docMk/>
      </pc:docMkLst>
      <pc:sldChg chg="del">
        <pc:chgData name="Ida Kristin Antonsen" userId="bde19a52-55f1-43bd-811b-e9a6e105a932" providerId="ADAL" clId="{443C7DC9-C91E-4363-92E0-1F34C5F4D893}" dt="2023-12-12T14:34:43.525" v="3" actId="47"/>
        <pc:sldMkLst>
          <pc:docMk/>
          <pc:sldMk cId="2309702612" sldId="257"/>
        </pc:sldMkLst>
      </pc:sldChg>
      <pc:sldChg chg="delSp modSp add mod">
        <pc:chgData name="Ida Kristin Antonsen" userId="bde19a52-55f1-43bd-811b-e9a6e105a932" providerId="ADAL" clId="{443C7DC9-C91E-4363-92E0-1F34C5F4D893}" dt="2023-12-13T07:05:59.559" v="31" actId="20577"/>
        <pc:sldMkLst>
          <pc:docMk/>
          <pc:sldMk cId="1924084478" sldId="5066"/>
        </pc:sldMkLst>
        <pc:spChg chg="mod">
          <ac:chgData name="Ida Kristin Antonsen" userId="bde19a52-55f1-43bd-811b-e9a6e105a932" providerId="ADAL" clId="{443C7DC9-C91E-4363-92E0-1F34C5F4D893}" dt="2023-12-12T14:41:50.333" v="15" actId="14100"/>
          <ac:spMkLst>
            <pc:docMk/>
            <pc:sldMk cId="1924084478" sldId="5066"/>
            <ac:spMk id="5" creationId="{4E55CDF4-8348-8DD9-E820-E7E10D0FD5BB}"/>
          </ac:spMkLst>
        </pc:spChg>
        <pc:spChg chg="mod">
          <ac:chgData name="Ida Kristin Antonsen" userId="bde19a52-55f1-43bd-811b-e9a6e105a932" providerId="ADAL" clId="{443C7DC9-C91E-4363-92E0-1F34C5F4D893}" dt="2023-12-12T14:42:10.914" v="17" actId="14100"/>
          <ac:spMkLst>
            <pc:docMk/>
            <pc:sldMk cId="1924084478" sldId="5066"/>
            <ac:spMk id="6" creationId="{E7270FD8-EE69-12E8-23A4-B80F26F92C48}"/>
          </ac:spMkLst>
        </pc:spChg>
        <pc:spChg chg="mod">
          <ac:chgData name="Ida Kristin Antonsen" userId="bde19a52-55f1-43bd-811b-e9a6e105a932" providerId="ADAL" clId="{443C7DC9-C91E-4363-92E0-1F34C5F4D893}" dt="2023-12-12T14:41:57.013" v="16" actId="14100"/>
          <ac:spMkLst>
            <pc:docMk/>
            <pc:sldMk cId="1924084478" sldId="5066"/>
            <ac:spMk id="7" creationId="{9E3E7199-0D11-553D-3DC0-E4B87E3EE7C8}"/>
          </ac:spMkLst>
        </pc:spChg>
        <pc:spChg chg="mod">
          <ac:chgData name="Ida Kristin Antonsen" userId="bde19a52-55f1-43bd-811b-e9a6e105a932" providerId="ADAL" clId="{443C7DC9-C91E-4363-92E0-1F34C5F4D893}" dt="2023-12-12T14:41:30.451" v="13" actId="1076"/>
          <ac:spMkLst>
            <pc:docMk/>
            <pc:sldMk cId="1924084478" sldId="5066"/>
            <ac:spMk id="16" creationId="{482FFCE7-06E7-54A6-EFF7-7C34E760C574}"/>
          </ac:spMkLst>
        </pc:spChg>
        <pc:spChg chg="mod">
          <ac:chgData name="Ida Kristin Antonsen" userId="bde19a52-55f1-43bd-811b-e9a6e105a932" providerId="ADAL" clId="{443C7DC9-C91E-4363-92E0-1F34C5F4D893}" dt="2023-12-12T14:41:24.790" v="12" actId="1076"/>
          <ac:spMkLst>
            <pc:docMk/>
            <pc:sldMk cId="1924084478" sldId="5066"/>
            <ac:spMk id="17" creationId="{E2652A5F-87A0-E616-5BB1-69C6E9694861}"/>
          </ac:spMkLst>
        </pc:spChg>
        <pc:spChg chg="mod">
          <ac:chgData name="Ida Kristin Antonsen" userId="bde19a52-55f1-43bd-811b-e9a6e105a932" providerId="ADAL" clId="{443C7DC9-C91E-4363-92E0-1F34C5F4D893}" dt="2023-12-12T14:42:29.716" v="19" actId="1076"/>
          <ac:spMkLst>
            <pc:docMk/>
            <pc:sldMk cId="1924084478" sldId="5066"/>
            <ac:spMk id="18" creationId="{6FE3B650-914F-B88B-4B89-55A5629150B5}"/>
          </ac:spMkLst>
        </pc:spChg>
        <pc:spChg chg="mod">
          <ac:chgData name="Ida Kristin Antonsen" userId="bde19a52-55f1-43bd-811b-e9a6e105a932" providerId="ADAL" clId="{443C7DC9-C91E-4363-92E0-1F34C5F4D893}" dt="2023-12-12T14:41:38.093" v="14" actId="1076"/>
          <ac:spMkLst>
            <pc:docMk/>
            <pc:sldMk cId="1924084478" sldId="5066"/>
            <ac:spMk id="19" creationId="{D8CFC968-051C-D742-23D8-DFEB1D371325}"/>
          </ac:spMkLst>
        </pc:spChg>
        <pc:spChg chg="mod">
          <ac:chgData name="Ida Kristin Antonsen" userId="bde19a52-55f1-43bd-811b-e9a6e105a932" providerId="ADAL" clId="{443C7DC9-C91E-4363-92E0-1F34C5F4D893}" dt="2023-12-13T07:05:59.559" v="31" actId="20577"/>
          <ac:spMkLst>
            <pc:docMk/>
            <pc:sldMk cId="1924084478" sldId="5066"/>
            <ac:spMk id="20" creationId="{3C1417D8-098F-93BE-7692-AC7050426828}"/>
          </ac:spMkLst>
        </pc:spChg>
        <pc:spChg chg="mod">
          <ac:chgData name="Ida Kristin Antonsen" userId="bde19a52-55f1-43bd-811b-e9a6e105a932" providerId="ADAL" clId="{443C7DC9-C91E-4363-92E0-1F34C5F4D893}" dt="2023-12-12T14:42:52.773" v="21" actId="1076"/>
          <ac:spMkLst>
            <pc:docMk/>
            <pc:sldMk cId="1924084478" sldId="5066"/>
            <ac:spMk id="25" creationId="{C659E7C5-4703-984F-E5B2-2F1E322A0677}"/>
          </ac:spMkLst>
        </pc:spChg>
        <pc:spChg chg="del">
          <ac:chgData name="Ida Kristin Antonsen" userId="bde19a52-55f1-43bd-811b-e9a6e105a932" providerId="ADAL" clId="{443C7DC9-C91E-4363-92E0-1F34C5F4D893}" dt="2023-12-12T14:40:51.648" v="8" actId="478"/>
          <ac:spMkLst>
            <pc:docMk/>
            <pc:sldMk cId="1924084478" sldId="5066"/>
            <ac:spMk id="26" creationId="{B1F073A3-2925-84CE-1E83-EACF4235D881}"/>
          </ac:spMkLst>
        </pc:spChg>
        <pc:spChg chg="del">
          <ac:chgData name="Ida Kristin Antonsen" userId="bde19a52-55f1-43bd-811b-e9a6e105a932" providerId="ADAL" clId="{443C7DC9-C91E-4363-92E0-1F34C5F4D893}" dt="2023-12-12T14:40:49.930" v="7" actId="478"/>
          <ac:spMkLst>
            <pc:docMk/>
            <pc:sldMk cId="1924084478" sldId="5066"/>
            <ac:spMk id="27" creationId="{D1694DD2-B197-3B0A-D906-4E4647DD5F99}"/>
          </ac:spMkLst>
        </pc:spChg>
        <pc:spChg chg="mod">
          <ac:chgData name="Ida Kristin Antonsen" userId="bde19a52-55f1-43bd-811b-e9a6e105a932" providerId="ADAL" clId="{443C7DC9-C91E-4363-92E0-1F34C5F4D893}" dt="2023-12-12T14:42:52.773" v="21" actId="1076"/>
          <ac:spMkLst>
            <pc:docMk/>
            <pc:sldMk cId="1924084478" sldId="5066"/>
            <ac:spMk id="29" creationId="{DDE096A7-C0F4-D64D-20DF-A2D8874801D6}"/>
          </ac:spMkLst>
        </pc:spChg>
        <pc:spChg chg="mod">
          <ac:chgData name="Ida Kristin Antonsen" userId="bde19a52-55f1-43bd-811b-e9a6e105a932" providerId="ADAL" clId="{443C7DC9-C91E-4363-92E0-1F34C5F4D893}" dt="2023-12-12T14:42:20.141" v="18" actId="14100"/>
          <ac:spMkLst>
            <pc:docMk/>
            <pc:sldMk cId="1924084478" sldId="5066"/>
            <ac:spMk id="32" creationId="{20DF8D73-0257-5D80-5FF7-C462893B1444}"/>
          </ac:spMkLst>
        </pc:spChg>
        <pc:graphicFrameChg chg="mod">
          <ac:chgData name="Ida Kristin Antonsen" userId="bde19a52-55f1-43bd-811b-e9a6e105a932" providerId="ADAL" clId="{443C7DC9-C91E-4363-92E0-1F34C5F4D893}" dt="2023-12-12T14:41:03.091" v="11" actId="20577"/>
          <ac:graphicFrameMkLst>
            <pc:docMk/>
            <pc:sldMk cId="1924084478" sldId="5066"/>
            <ac:graphicFrameMk id="2" creationId="{81EF5EB5-5814-F4BE-687F-CC371071520F}"/>
          </ac:graphicFrameMkLst>
        </pc:graphicFrameChg>
        <pc:cxnChg chg="del mod">
          <ac:chgData name="Ida Kristin Antonsen" userId="bde19a52-55f1-43bd-811b-e9a6e105a932" providerId="ADAL" clId="{443C7DC9-C91E-4363-92E0-1F34C5F4D893}" dt="2023-12-12T14:40:53.084" v="9" actId="478"/>
          <ac:cxnSpMkLst>
            <pc:docMk/>
            <pc:sldMk cId="1924084478" sldId="5066"/>
            <ac:cxnSpMk id="30" creationId="{4F427509-45E5-7A63-8748-816C14A40AEB}"/>
          </ac:cxnSpMkLst>
        </pc:cxnChg>
        <pc:cxnChg chg="mod">
          <ac:chgData name="Ida Kristin Antonsen" userId="bde19a52-55f1-43bd-811b-e9a6e105a932" providerId="ADAL" clId="{443C7DC9-C91E-4363-92E0-1F34C5F4D893}" dt="2023-12-12T14:42:52.773" v="21" actId="1076"/>
          <ac:cxnSpMkLst>
            <pc:docMk/>
            <pc:sldMk cId="1924084478" sldId="5066"/>
            <ac:cxnSpMk id="31" creationId="{D435BDD5-B8C1-0996-5B82-4553AC61D1BD}"/>
          </ac:cxnSpMkLst>
        </pc:cxnChg>
        <pc:cxnChg chg="mod">
          <ac:chgData name="Ida Kristin Antonsen" userId="bde19a52-55f1-43bd-811b-e9a6e105a932" providerId="ADAL" clId="{443C7DC9-C91E-4363-92E0-1F34C5F4D893}" dt="2023-12-12T14:42:32.014" v="20" actId="1076"/>
          <ac:cxnSpMkLst>
            <pc:docMk/>
            <pc:sldMk cId="1924084478" sldId="5066"/>
            <ac:cxnSpMk id="33" creationId="{C5ACE9DC-0BD1-D15D-24A8-377C6F1594FF}"/>
          </ac:cxnSpMkLst>
        </pc:cxnChg>
      </pc:sldChg>
      <pc:sldChg chg="add">
        <pc:chgData name="Ida Kristin Antonsen" userId="bde19a52-55f1-43bd-811b-e9a6e105a932" providerId="ADAL" clId="{443C7DC9-C91E-4363-92E0-1F34C5F4D893}" dt="2023-12-12T14:34:40.854" v="2"/>
        <pc:sldMkLst>
          <pc:docMk/>
          <pc:sldMk cId="3858406482" sldId="2147309294"/>
        </pc:sldMkLst>
      </pc:sldChg>
      <pc:sldChg chg="modSp mod">
        <pc:chgData name="Ida Kristin Antonsen" userId="bde19a52-55f1-43bd-811b-e9a6e105a932" providerId="ADAL" clId="{443C7DC9-C91E-4363-92E0-1F34C5F4D893}" dt="2023-12-13T07:05:00.766" v="23" actId="14100"/>
        <pc:sldMkLst>
          <pc:docMk/>
          <pc:sldMk cId="362307968" sldId="2147309296"/>
        </pc:sldMkLst>
        <pc:spChg chg="mod">
          <ac:chgData name="Ida Kristin Antonsen" userId="bde19a52-55f1-43bd-811b-e9a6e105a932" providerId="ADAL" clId="{443C7DC9-C91E-4363-92E0-1F34C5F4D893}" dt="2023-12-13T07:05:00.766" v="23" actId="14100"/>
          <ac:spMkLst>
            <pc:docMk/>
            <pc:sldMk cId="362307968" sldId="2147309296"/>
            <ac:spMk id="3" creationId="{DA5192DF-4834-744E-5E47-3ACF8A057A06}"/>
          </ac:spMkLst>
        </pc:spChg>
      </pc:sldChg>
      <pc:sldChg chg="addSp delSp modSp add mod chgLayout">
        <pc:chgData name="Ida Kristin Antonsen" userId="bde19a52-55f1-43bd-811b-e9a6e105a932" providerId="ADAL" clId="{443C7DC9-C91E-4363-92E0-1F34C5F4D893}" dt="2023-12-12T14:34:17.648" v="1" actId="6264"/>
        <pc:sldMkLst>
          <pc:docMk/>
          <pc:sldMk cId="1556458865" sldId="2147309299"/>
        </pc:sldMkLst>
        <pc:spChg chg="mod ord">
          <ac:chgData name="Ida Kristin Antonsen" userId="bde19a52-55f1-43bd-811b-e9a6e105a932" providerId="ADAL" clId="{443C7DC9-C91E-4363-92E0-1F34C5F4D893}" dt="2023-12-12T14:34:17.648" v="1" actId="6264"/>
          <ac:spMkLst>
            <pc:docMk/>
            <pc:sldMk cId="1556458865" sldId="2147309299"/>
            <ac:spMk id="2" creationId="{852D6169-1DF6-0826-F14F-D23ABB068749}"/>
          </ac:spMkLst>
        </pc:spChg>
        <pc:spChg chg="mod ord">
          <ac:chgData name="Ida Kristin Antonsen" userId="bde19a52-55f1-43bd-811b-e9a6e105a932" providerId="ADAL" clId="{443C7DC9-C91E-4363-92E0-1F34C5F4D893}" dt="2023-12-12T14:34:17.648" v="1" actId="6264"/>
          <ac:spMkLst>
            <pc:docMk/>
            <pc:sldMk cId="1556458865" sldId="2147309299"/>
            <ac:spMk id="3" creationId="{D47CF175-D66C-6D74-29FE-D9C64C3E9FF2}"/>
          </ac:spMkLst>
        </pc:spChg>
        <pc:spChg chg="add del mod">
          <ac:chgData name="Ida Kristin Antonsen" userId="bde19a52-55f1-43bd-811b-e9a6e105a932" providerId="ADAL" clId="{443C7DC9-C91E-4363-92E0-1F34C5F4D893}" dt="2023-12-12T14:34:17.648" v="1" actId="6264"/>
          <ac:spMkLst>
            <pc:docMk/>
            <pc:sldMk cId="1556458865" sldId="2147309299"/>
            <ac:spMk id="4" creationId="{A9DFBAD4-25B4-D7DE-1C59-1E9957480B95}"/>
          </ac:spMkLst>
        </pc:spChg>
        <pc:spChg chg="add del mod">
          <ac:chgData name="Ida Kristin Antonsen" userId="bde19a52-55f1-43bd-811b-e9a6e105a932" providerId="ADAL" clId="{443C7DC9-C91E-4363-92E0-1F34C5F4D893}" dt="2023-12-12T14:34:17.648" v="1" actId="6264"/>
          <ac:spMkLst>
            <pc:docMk/>
            <pc:sldMk cId="1556458865" sldId="2147309299"/>
            <ac:spMk id="5" creationId="{80740124-198B-7CD7-0851-7FED6E1EBB07}"/>
          </ac:spMkLst>
        </pc:spChg>
      </pc:sldChg>
      <pc:sldChg chg="modSp del mod ord">
        <pc:chgData name="Ida Kristin Antonsen" userId="bde19a52-55f1-43bd-811b-e9a6e105a932" providerId="ADAL" clId="{443C7DC9-C91E-4363-92E0-1F34C5F4D893}" dt="2023-12-13T10:57:03.710" v="554" actId="47"/>
        <pc:sldMkLst>
          <pc:docMk/>
          <pc:sldMk cId="3075512993" sldId="2147309301"/>
        </pc:sldMkLst>
        <pc:picChg chg="mod">
          <ac:chgData name="Ida Kristin Antonsen" userId="bde19a52-55f1-43bd-811b-e9a6e105a932" providerId="ADAL" clId="{443C7DC9-C91E-4363-92E0-1F34C5F4D893}" dt="2023-12-13T10:04:46.154" v="551" actId="1076"/>
          <ac:picMkLst>
            <pc:docMk/>
            <pc:sldMk cId="3075512993" sldId="2147309301"/>
            <ac:picMk id="9" creationId="{558C527D-1C55-D4B6-3B20-92F8CF4D1254}"/>
          </ac:picMkLst>
        </pc:picChg>
      </pc:sldChg>
      <pc:sldChg chg="add">
        <pc:chgData name="Ida Kristin Antonsen" userId="bde19a52-55f1-43bd-811b-e9a6e105a932" providerId="ADAL" clId="{443C7DC9-C91E-4363-92E0-1F34C5F4D893}" dt="2023-12-13T10:04:31.291" v="550"/>
        <pc:sldMkLst>
          <pc:docMk/>
          <pc:sldMk cId="2241999386" sldId="2147309352"/>
        </pc:sldMkLst>
      </pc:sldChg>
      <pc:sldChg chg="add">
        <pc:chgData name="Ida Kristin Antonsen" userId="bde19a52-55f1-43bd-811b-e9a6e105a932" providerId="ADAL" clId="{443C7DC9-C91E-4363-92E0-1F34C5F4D893}" dt="2023-12-12T14:43:48.715" v="22"/>
        <pc:sldMkLst>
          <pc:docMk/>
          <pc:sldMk cId="1306702433" sldId="2147309357"/>
        </pc:sldMkLst>
      </pc:sldChg>
      <pc:sldChg chg="add">
        <pc:chgData name="Ida Kristin Antonsen" userId="bde19a52-55f1-43bd-811b-e9a6e105a932" providerId="ADAL" clId="{443C7DC9-C91E-4363-92E0-1F34C5F4D893}" dt="2023-12-13T07:08:50.661" v="34"/>
        <pc:sldMkLst>
          <pc:docMk/>
          <pc:sldMk cId="1214213941" sldId="2147309358"/>
        </pc:sldMkLst>
      </pc:sldChg>
      <pc:sldChg chg="add del">
        <pc:chgData name="Ida Kristin Antonsen" userId="bde19a52-55f1-43bd-811b-e9a6e105a932" providerId="ADAL" clId="{443C7DC9-C91E-4363-92E0-1F34C5F4D893}" dt="2023-12-13T07:08:41.225" v="33"/>
        <pc:sldMkLst>
          <pc:docMk/>
          <pc:sldMk cId="1245280566" sldId="2147309358"/>
        </pc:sldMkLst>
      </pc:sldChg>
      <pc:sldChg chg="modSp new mod ord">
        <pc:chgData name="Ida Kristin Antonsen" userId="bde19a52-55f1-43bd-811b-e9a6e105a932" providerId="ADAL" clId="{443C7DC9-C91E-4363-92E0-1F34C5F4D893}" dt="2023-12-13T07:13:23.274" v="241"/>
        <pc:sldMkLst>
          <pc:docMk/>
          <pc:sldMk cId="3573208834" sldId="2147309359"/>
        </pc:sldMkLst>
        <pc:spChg chg="mod">
          <ac:chgData name="Ida Kristin Antonsen" userId="bde19a52-55f1-43bd-811b-e9a6e105a932" providerId="ADAL" clId="{443C7DC9-C91E-4363-92E0-1F34C5F4D893}" dt="2023-12-13T07:09:32.938" v="41" actId="20577"/>
          <ac:spMkLst>
            <pc:docMk/>
            <pc:sldMk cId="3573208834" sldId="2147309359"/>
            <ac:spMk id="2" creationId="{762B22F1-CC9E-2B6E-87A4-947C11EDBC7F}"/>
          </ac:spMkLst>
        </pc:spChg>
        <pc:spChg chg="mod">
          <ac:chgData name="Ida Kristin Antonsen" userId="bde19a52-55f1-43bd-811b-e9a6e105a932" providerId="ADAL" clId="{443C7DC9-C91E-4363-92E0-1F34C5F4D893}" dt="2023-12-13T07:11:32.955" v="228" actId="20577"/>
          <ac:spMkLst>
            <pc:docMk/>
            <pc:sldMk cId="3573208834" sldId="2147309359"/>
            <ac:spMk id="3" creationId="{D1793088-6135-5EBA-05B6-46DDF94F6D5A}"/>
          </ac:spMkLst>
        </pc:spChg>
      </pc:sldChg>
      <pc:sldChg chg="addSp delSp modSp new mod ord modClrScheme chgLayout">
        <pc:chgData name="Ida Kristin Antonsen" userId="bde19a52-55f1-43bd-811b-e9a6e105a932" providerId="ADAL" clId="{443C7DC9-C91E-4363-92E0-1F34C5F4D893}" dt="2023-12-13T10:14:14.263" v="553" actId="1076"/>
        <pc:sldMkLst>
          <pc:docMk/>
          <pc:sldMk cId="3201105042" sldId="2147309360"/>
        </pc:sldMkLst>
        <pc:spChg chg="mod ord">
          <ac:chgData name="Ida Kristin Antonsen" userId="bde19a52-55f1-43bd-811b-e9a6e105a932" providerId="ADAL" clId="{443C7DC9-C91E-4363-92E0-1F34C5F4D893}" dt="2023-12-13T07:32:17.516" v="267" actId="700"/>
          <ac:spMkLst>
            <pc:docMk/>
            <pc:sldMk cId="3201105042" sldId="2147309360"/>
            <ac:spMk id="2" creationId="{2100470E-241E-1962-9323-25A4BBB1098E}"/>
          </ac:spMkLst>
        </pc:spChg>
        <pc:spChg chg="mod ord">
          <ac:chgData name="Ida Kristin Antonsen" userId="bde19a52-55f1-43bd-811b-e9a6e105a932" providerId="ADAL" clId="{443C7DC9-C91E-4363-92E0-1F34C5F4D893}" dt="2023-12-13T07:49:42.259" v="549" actId="20577"/>
          <ac:spMkLst>
            <pc:docMk/>
            <pc:sldMk cId="3201105042" sldId="2147309360"/>
            <ac:spMk id="3" creationId="{6A0F90C9-82DF-7150-CCEA-34305D4B28EB}"/>
          </ac:spMkLst>
        </pc:spChg>
        <pc:spChg chg="add del mod ord">
          <ac:chgData name="Ida Kristin Antonsen" userId="bde19a52-55f1-43bd-811b-e9a6e105a932" providerId="ADAL" clId="{443C7DC9-C91E-4363-92E0-1F34C5F4D893}" dt="2023-12-13T07:32:22.424" v="268" actId="478"/>
          <ac:spMkLst>
            <pc:docMk/>
            <pc:sldMk cId="3201105042" sldId="2147309360"/>
            <ac:spMk id="6" creationId="{207CB271-2F57-4008-2D4D-FDBAC4B21918}"/>
          </ac:spMkLst>
        </pc:spChg>
        <pc:picChg chg="add mod">
          <ac:chgData name="Ida Kristin Antonsen" userId="bde19a52-55f1-43bd-811b-e9a6e105a932" providerId="ADAL" clId="{443C7DC9-C91E-4363-92E0-1F34C5F4D893}" dt="2023-12-13T10:14:14.263" v="553" actId="1076"/>
          <ac:picMkLst>
            <pc:docMk/>
            <pc:sldMk cId="3201105042" sldId="2147309360"/>
            <ac:picMk id="5" creationId="{E23190B2-2BDA-1CDF-0FCE-247C2204674E}"/>
          </ac:picMkLst>
        </pc:picChg>
      </pc:sldChg>
      <pc:sldChg chg="addSp delSp modSp new mod modClrScheme chgLayout">
        <pc:chgData name="Ida Kristin Antonsen" userId="bde19a52-55f1-43bd-811b-e9a6e105a932" providerId="ADAL" clId="{443C7DC9-C91E-4363-92E0-1F34C5F4D893}" dt="2023-12-14T09:16:21.101" v="594" actId="1076"/>
        <pc:sldMkLst>
          <pc:docMk/>
          <pc:sldMk cId="724749841" sldId="2147309361"/>
        </pc:sldMkLst>
        <pc:spChg chg="del mod ord">
          <ac:chgData name="Ida Kristin Antonsen" userId="bde19a52-55f1-43bd-811b-e9a6e105a932" providerId="ADAL" clId="{443C7DC9-C91E-4363-92E0-1F34C5F4D893}" dt="2023-12-13T07:38:58.845" v="315" actId="700"/>
          <ac:spMkLst>
            <pc:docMk/>
            <pc:sldMk cId="724749841" sldId="2147309361"/>
            <ac:spMk id="2" creationId="{85EE7A59-10EA-7C85-4BF6-96F9D33899AF}"/>
          </ac:spMkLst>
        </pc:spChg>
        <pc:spChg chg="add del mod ord">
          <ac:chgData name="Ida Kristin Antonsen" userId="bde19a52-55f1-43bd-811b-e9a6e105a932" providerId="ADAL" clId="{443C7DC9-C91E-4363-92E0-1F34C5F4D893}" dt="2023-12-14T09:13:10.547" v="558" actId="478"/>
          <ac:spMkLst>
            <pc:docMk/>
            <pc:sldMk cId="724749841" sldId="2147309361"/>
            <ac:spMk id="2" creationId="{8CA39CA9-CD34-EFB8-95A4-A4E7AC7FEAA3}"/>
          </ac:spMkLst>
        </pc:spChg>
        <pc:spChg chg="del mod ord">
          <ac:chgData name="Ida Kristin Antonsen" userId="bde19a52-55f1-43bd-811b-e9a6e105a932" providerId="ADAL" clId="{443C7DC9-C91E-4363-92E0-1F34C5F4D893}" dt="2023-12-13T07:38:58.845" v="315" actId="700"/>
          <ac:spMkLst>
            <pc:docMk/>
            <pc:sldMk cId="724749841" sldId="2147309361"/>
            <ac:spMk id="3" creationId="{D527C77C-0E2D-8A1D-AF60-39D037F0245C}"/>
          </ac:spMkLst>
        </pc:spChg>
        <pc:spChg chg="del">
          <ac:chgData name="Ida Kristin Antonsen" userId="bde19a52-55f1-43bd-811b-e9a6e105a932" providerId="ADAL" clId="{443C7DC9-C91E-4363-92E0-1F34C5F4D893}" dt="2023-12-13T07:38:58.845" v="315" actId="700"/>
          <ac:spMkLst>
            <pc:docMk/>
            <pc:sldMk cId="724749841" sldId="2147309361"/>
            <ac:spMk id="4" creationId="{B3D612D6-22B3-FCFD-04C9-B11B4F6C31B4}"/>
          </ac:spMkLst>
        </pc:spChg>
        <pc:spChg chg="add mod ord">
          <ac:chgData name="Ida Kristin Antonsen" userId="bde19a52-55f1-43bd-811b-e9a6e105a932" providerId="ADAL" clId="{443C7DC9-C91E-4363-92E0-1F34C5F4D893}" dt="2023-12-14T09:13:06.003" v="557" actId="700"/>
          <ac:spMkLst>
            <pc:docMk/>
            <pc:sldMk cId="724749841" sldId="2147309361"/>
            <ac:spMk id="5" creationId="{9A8C7D5E-850F-415F-308A-B9EE73AEC48D}"/>
          </ac:spMkLst>
        </pc:spChg>
        <pc:spChg chg="add del mod ord">
          <ac:chgData name="Ida Kristin Antonsen" userId="bde19a52-55f1-43bd-811b-e9a6e105a932" providerId="ADAL" clId="{443C7DC9-C91E-4363-92E0-1F34C5F4D893}" dt="2023-12-14T09:16:17.442" v="593" actId="14100"/>
          <ac:spMkLst>
            <pc:docMk/>
            <pc:sldMk cId="724749841" sldId="2147309361"/>
            <ac:spMk id="6" creationId="{CED07761-8184-66A3-F91E-C651341B8C72}"/>
          </ac:spMkLst>
        </pc:spChg>
        <pc:picChg chg="add del mod ord">
          <ac:chgData name="Ida Kristin Antonsen" userId="bde19a52-55f1-43bd-811b-e9a6e105a932" providerId="ADAL" clId="{443C7DC9-C91E-4363-92E0-1F34C5F4D893}" dt="2023-12-13T07:39:25.477" v="344" actId="22"/>
          <ac:picMkLst>
            <pc:docMk/>
            <pc:sldMk cId="724749841" sldId="2147309361"/>
            <ac:picMk id="8" creationId="{A48C7BF8-0BAB-A92F-DD8A-FFE56D325790}"/>
          </ac:picMkLst>
        </pc:picChg>
        <pc:picChg chg="add mod ord modCrop">
          <ac:chgData name="Ida Kristin Antonsen" userId="bde19a52-55f1-43bd-811b-e9a6e105a932" providerId="ADAL" clId="{443C7DC9-C91E-4363-92E0-1F34C5F4D893}" dt="2023-12-13T07:42:21.509" v="366" actId="732"/>
          <ac:picMkLst>
            <pc:docMk/>
            <pc:sldMk cId="724749841" sldId="2147309361"/>
            <ac:picMk id="10" creationId="{DBAAE018-8B1D-4A6D-CE79-AB99A7300576}"/>
          </ac:picMkLst>
        </pc:picChg>
        <pc:picChg chg="add mod">
          <ac:chgData name="Ida Kristin Antonsen" userId="bde19a52-55f1-43bd-811b-e9a6e105a932" providerId="ADAL" clId="{443C7DC9-C91E-4363-92E0-1F34C5F4D893}" dt="2023-12-14T09:16:21.101" v="594" actId="1076"/>
          <ac:picMkLst>
            <pc:docMk/>
            <pc:sldMk cId="724749841" sldId="2147309361"/>
            <ac:picMk id="12" creationId="{786910B1-F165-18A7-E0C4-5CA62B1AC136}"/>
          </ac:picMkLst>
        </pc:picChg>
      </pc:sldChg>
    </pc:docChg>
  </pc:docChgLst>
  <pc:docChgLst>
    <pc:chgData name="Ida Kristin Antonsen" userId="S::idakria@ntnu.no::bde19a52-55f1-43bd-811b-e9a6e105a932" providerId="AD" clId="Web-{1F3DD828-DD57-1B9E-9755-29D009B87336}"/>
    <pc:docChg chg="modSld">
      <pc:chgData name="Ida Kristin Antonsen" userId="S::idakria@ntnu.no::bde19a52-55f1-43bd-811b-e9a6e105a932" providerId="AD" clId="Web-{1F3DD828-DD57-1B9E-9755-29D009B87336}" dt="2023-12-12T14:35:22.833" v="4" actId="20577"/>
      <pc:docMkLst>
        <pc:docMk/>
      </pc:docMkLst>
      <pc:sldChg chg="modSp">
        <pc:chgData name="Ida Kristin Antonsen" userId="S::idakria@ntnu.no::bde19a52-55f1-43bd-811b-e9a6e105a932" providerId="AD" clId="Web-{1F3DD828-DD57-1B9E-9755-29D009B87336}" dt="2023-12-12T14:35:22.833" v="4" actId="20577"/>
        <pc:sldMkLst>
          <pc:docMk/>
          <pc:sldMk cId="1556458865" sldId="2147309299"/>
        </pc:sldMkLst>
        <pc:spChg chg="mod">
          <ac:chgData name="Ida Kristin Antonsen" userId="S::idakria@ntnu.no::bde19a52-55f1-43bd-811b-e9a6e105a932" providerId="AD" clId="Web-{1F3DD828-DD57-1B9E-9755-29D009B87336}" dt="2023-12-12T14:35:22.833" v="4" actId="20577"/>
          <ac:spMkLst>
            <pc:docMk/>
            <pc:sldMk cId="1556458865" sldId="2147309299"/>
            <ac:spMk id="3" creationId="{D47CF175-D66C-6D74-29FE-D9C64C3E9FF2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C295B7D-F857-4701-B417-8CA96F6BFFDD}" type="doc">
      <dgm:prSet loTypeId="urn:microsoft.com/office/officeart/2005/8/layout/hChevron3" loCatId="process" qsTypeId="urn:microsoft.com/office/officeart/2005/8/quickstyle/simple1" qsCatId="simple" csTypeId="urn:microsoft.com/office/officeart/2005/8/colors/accent1_4" csCatId="accent1" phldr="1"/>
      <dgm:spPr/>
    </dgm:pt>
    <dgm:pt modelId="{6ADA94F4-E964-464C-B81A-A5997DE1D7EE}">
      <dgm:prSet phldrT="[Text]" custT="1"/>
      <dgm:spPr/>
      <dgm:t>
        <a:bodyPr/>
        <a:lstStyle/>
        <a:p>
          <a:r>
            <a:rPr lang="nb-NO" sz="1600" b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rPr>
            <a:t>Mai</a:t>
          </a:r>
        </a:p>
      </dgm:t>
    </dgm:pt>
    <dgm:pt modelId="{B8F8B226-D0E3-4D08-B384-255160124048}" type="parTrans" cxnId="{B2C53778-00A3-4ECB-B45E-D9A80FFF4430}">
      <dgm:prSet/>
      <dgm:spPr/>
      <dgm:t>
        <a:bodyPr/>
        <a:lstStyle/>
        <a:p>
          <a:endParaRPr lang="nb-NO" b="1">
            <a:solidFill>
              <a:schemeClr val="bg1"/>
            </a:solidFill>
          </a:endParaRPr>
        </a:p>
      </dgm:t>
    </dgm:pt>
    <dgm:pt modelId="{75DFA3E5-F7D5-4357-B890-DAE32F1ECAD2}" type="sibTrans" cxnId="{B2C53778-00A3-4ECB-B45E-D9A80FFF4430}">
      <dgm:prSet/>
      <dgm:spPr/>
      <dgm:t>
        <a:bodyPr/>
        <a:lstStyle/>
        <a:p>
          <a:endParaRPr lang="nb-NO" b="1">
            <a:solidFill>
              <a:schemeClr val="bg1"/>
            </a:solidFill>
          </a:endParaRPr>
        </a:p>
      </dgm:t>
    </dgm:pt>
    <dgm:pt modelId="{BBE09310-B4AE-4B0A-A01F-157614B446AF}">
      <dgm:prSet phldrT="[Text]" custT="1"/>
      <dgm:spPr/>
      <dgm:t>
        <a:bodyPr/>
        <a:lstStyle/>
        <a:p>
          <a:r>
            <a:rPr lang="nb-NO" sz="1600" b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rPr>
            <a:t>Jun</a:t>
          </a:r>
        </a:p>
      </dgm:t>
    </dgm:pt>
    <dgm:pt modelId="{58093D7E-E63E-4895-8BC2-606D5BC6CEFF}" type="parTrans" cxnId="{06E96791-C78B-4A04-B271-120309917277}">
      <dgm:prSet/>
      <dgm:spPr/>
      <dgm:t>
        <a:bodyPr/>
        <a:lstStyle/>
        <a:p>
          <a:endParaRPr lang="nb-NO" b="1">
            <a:solidFill>
              <a:schemeClr val="bg1"/>
            </a:solidFill>
          </a:endParaRPr>
        </a:p>
      </dgm:t>
    </dgm:pt>
    <dgm:pt modelId="{CDF7D30C-FA32-432A-953F-93CD0BF53FE5}" type="sibTrans" cxnId="{06E96791-C78B-4A04-B271-120309917277}">
      <dgm:prSet/>
      <dgm:spPr/>
      <dgm:t>
        <a:bodyPr/>
        <a:lstStyle/>
        <a:p>
          <a:endParaRPr lang="nb-NO" b="1">
            <a:solidFill>
              <a:schemeClr val="bg1"/>
            </a:solidFill>
          </a:endParaRPr>
        </a:p>
      </dgm:t>
    </dgm:pt>
    <dgm:pt modelId="{59C00689-6E1F-4D4F-B61B-93E45C162884}">
      <dgm:prSet phldrT="[Text]" custT="1"/>
      <dgm:spPr/>
      <dgm:t>
        <a:bodyPr/>
        <a:lstStyle/>
        <a:p>
          <a:r>
            <a:rPr lang="nb-NO" sz="1600" b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rPr>
            <a:t>Jul</a:t>
          </a:r>
        </a:p>
      </dgm:t>
    </dgm:pt>
    <dgm:pt modelId="{630BEF09-07F7-4558-A51F-C17A34876320}" type="parTrans" cxnId="{2575DBF3-3FAC-4B73-A1A1-483876B34AE7}">
      <dgm:prSet/>
      <dgm:spPr/>
      <dgm:t>
        <a:bodyPr/>
        <a:lstStyle/>
        <a:p>
          <a:endParaRPr lang="nb-NO" b="1">
            <a:solidFill>
              <a:schemeClr val="bg1"/>
            </a:solidFill>
          </a:endParaRPr>
        </a:p>
      </dgm:t>
    </dgm:pt>
    <dgm:pt modelId="{A7649572-3E4D-4ECA-ADCC-1D212F68A805}" type="sibTrans" cxnId="{2575DBF3-3FAC-4B73-A1A1-483876B34AE7}">
      <dgm:prSet/>
      <dgm:spPr/>
      <dgm:t>
        <a:bodyPr/>
        <a:lstStyle/>
        <a:p>
          <a:endParaRPr lang="nb-NO" b="1">
            <a:solidFill>
              <a:schemeClr val="bg1"/>
            </a:solidFill>
          </a:endParaRPr>
        </a:p>
      </dgm:t>
    </dgm:pt>
    <dgm:pt modelId="{12382D85-ACFD-490F-888C-2114F27C4BF7}">
      <dgm:prSet phldrT="[Text]" custT="1"/>
      <dgm:spPr/>
      <dgm:t>
        <a:bodyPr/>
        <a:lstStyle/>
        <a:p>
          <a:r>
            <a:rPr lang="nb-NO" sz="1600" b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rPr>
            <a:t>Aug</a:t>
          </a:r>
        </a:p>
      </dgm:t>
    </dgm:pt>
    <dgm:pt modelId="{A7AB244B-E027-42E7-B6E3-5D858C1419CA}" type="parTrans" cxnId="{3A57C3D0-2FDA-4BF1-89DB-CD5741083A75}">
      <dgm:prSet/>
      <dgm:spPr/>
      <dgm:t>
        <a:bodyPr/>
        <a:lstStyle/>
        <a:p>
          <a:endParaRPr lang="nb-NO" b="1">
            <a:solidFill>
              <a:schemeClr val="bg1"/>
            </a:solidFill>
          </a:endParaRPr>
        </a:p>
      </dgm:t>
    </dgm:pt>
    <dgm:pt modelId="{9922AC5B-B516-4927-B774-10F116070995}" type="sibTrans" cxnId="{3A57C3D0-2FDA-4BF1-89DB-CD5741083A75}">
      <dgm:prSet/>
      <dgm:spPr/>
      <dgm:t>
        <a:bodyPr/>
        <a:lstStyle/>
        <a:p>
          <a:endParaRPr lang="nb-NO" b="1">
            <a:solidFill>
              <a:schemeClr val="bg1"/>
            </a:solidFill>
          </a:endParaRPr>
        </a:p>
      </dgm:t>
    </dgm:pt>
    <dgm:pt modelId="{8EC9E499-5048-4496-9520-D91A43C8118D}">
      <dgm:prSet phldrT="[Text]" custT="1"/>
      <dgm:spPr/>
      <dgm:t>
        <a:bodyPr/>
        <a:lstStyle/>
        <a:p>
          <a:r>
            <a:rPr lang="nb-NO" sz="1600" b="0" err="1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rPr>
            <a:t>Sep</a:t>
          </a:r>
          <a:endParaRPr lang="nb-NO" sz="1600" b="0">
            <a:solidFill>
              <a:schemeClr val="bg1"/>
            </a:solidFill>
            <a:latin typeface="Poppins" panose="00000500000000000000" pitchFamily="2" charset="0"/>
            <a:cs typeface="Poppins" panose="00000500000000000000" pitchFamily="2" charset="0"/>
          </a:endParaRPr>
        </a:p>
      </dgm:t>
    </dgm:pt>
    <dgm:pt modelId="{E076673E-F3DE-4CFA-A9E3-4364A71E63AB}" type="parTrans" cxnId="{4B114B18-FFCC-4E34-BC14-A8A8466BF32B}">
      <dgm:prSet/>
      <dgm:spPr/>
      <dgm:t>
        <a:bodyPr/>
        <a:lstStyle/>
        <a:p>
          <a:endParaRPr lang="nb-NO" b="1">
            <a:solidFill>
              <a:schemeClr val="bg1"/>
            </a:solidFill>
          </a:endParaRPr>
        </a:p>
      </dgm:t>
    </dgm:pt>
    <dgm:pt modelId="{B36EEDC4-3639-4C95-9876-E0FE934E62ED}" type="sibTrans" cxnId="{4B114B18-FFCC-4E34-BC14-A8A8466BF32B}">
      <dgm:prSet/>
      <dgm:spPr/>
      <dgm:t>
        <a:bodyPr/>
        <a:lstStyle/>
        <a:p>
          <a:endParaRPr lang="nb-NO" b="1">
            <a:solidFill>
              <a:schemeClr val="bg1"/>
            </a:solidFill>
          </a:endParaRPr>
        </a:p>
      </dgm:t>
    </dgm:pt>
    <dgm:pt modelId="{1BBE3D0C-6B6F-4B3A-A712-A00526757103}">
      <dgm:prSet phldrT="[Text]" custT="1"/>
      <dgm:spPr/>
      <dgm:t>
        <a:bodyPr/>
        <a:lstStyle/>
        <a:p>
          <a:r>
            <a:rPr lang="nb-NO" sz="1600" b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rPr>
            <a:t>Okt</a:t>
          </a:r>
        </a:p>
      </dgm:t>
    </dgm:pt>
    <dgm:pt modelId="{8CA4EF54-DC83-45BA-BB4F-43A94C1BA681}" type="parTrans" cxnId="{A585E6BB-D089-4675-89FE-67D979360D74}">
      <dgm:prSet/>
      <dgm:spPr/>
      <dgm:t>
        <a:bodyPr/>
        <a:lstStyle/>
        <a:p>
          <a:endParaRPr lang="nb-NO" b="1">
            <a:solidFill>
              <a:schemeClr val="bg1"/>
            </a:solidFill>
          </a:endParaRPr>
        </a:p>
      </dgm:t>
    </dgm:pt>
    <dgm:pt modelId="{CAC54404-968E-47F7-A61A-1DA0B1A42840}" type="sibTrans" cxnId="{A585E6BB-D089-4675-89FE-67D979360D74}">
      <dgm:prSet/>
      <dgm:spPr/>
      <dgm:t>
        <a:bodyPr/>
        <a:lstStyle/>
        <a:p>
          <a:endParaRPr lang="nb-NO" b="1">
            <a:solidFill>
              <a:schemeClr val="bg1"/>
            </a:solidFill>
          </a:endParaRPr>
        </a:p>
      </dgm:t>
    </dgm:pt>
    <dgm:pt modelId="{C7C767CE-B71D-44DD-9F07-1172A1A708BB}">
      <dgm:prSet phldrT="[Text]" custT="1"/>
      <dgm:spPr/>
      <dgm:t>
        <a:bodyPr/>
        <a:lstStyle/>
        <a:p>
          <a:r>
            <a:rPr lang="nb-NO" sz="1600" b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rPr>
            <a:t>Nov</a:t>
          </a:r>
        </a:p>
      </dgm:t>
    </dgm:pt>
    <dgm:pt modelId="{12F37BFB-21C4-4647-BE4A-FB4ADB1A7835}" type="parTrans" cxnId="{48224370-A21D-4159-8E3D-3AA4A5230E72}">
      <dgm:prSet/>
      <dgm:spPr/>
      <dgm:t>
        <a:bodyPr/>
        <a:lstStyle/>
        <a:p>
          <a:endParaRPr lang="nb-NO" b="1">
            <a:solidFill>
              <a:schemeClr val="bg1"/>
            </a:solidFill>
          </a:endParaRPr>
        </a:p>
      </dgm:t>
    </dgm:pt>
    <dgm:pt modelId="{0DF525DA-6D96-4524-BFE8-E8A7C9CA5F2C}" type="sibTrans" cxnId="{48224370-A21D-4159-8E3D-3AA4A5230E72}">
      <dgm:prSet/>
      <dgm:spPr/>
      <dgm:t>
        <a:bodyPr/>
        <a:lstStyle/>
        <a:p>
          <a:endParaRPr lang="nb-NO" b="1">
            <a:solidFill>
              <a:schemeClr val="bg1"/>
            </a:solidFill>
          </a:endParaRPr>
        </a:p>
      </dgm:t>
    </dgm:pt>
    <dgm:pt modelId="{3C64A591-0BC8-4EF1-8248-D4064C01235D}">
      <dgm:prSet phldrT="[Text]" custT="1"/>
      <dgm:spPr/>
      <dgm:t>
        <a:bodyPr/>
        <a:lstStyle/>
        <a:p>
          <a:r>
            <a:rPr lang="nb-NO" sz="1600" b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rPr>
            <a:t>Des</a:t>
          </a:r>
        </a:p>
      </dgm:t>
    </dgm:pt>
    <dgm:pt modelId="{8732A5CF-341C-4B6B-9BA0-1AEE322621AD}" type="parTrans" cxnId="{08568FCA-225A-4FC1-BF29-9E864BDCA3DA}">
      <dgm:prSet/>
      <dgm:spPr/>
      <dgm:t>
        <a:bodyPr/>
        <a:lstStyle/>
        <a:p>
          <a:endParaRPr lang="nb-NO"/>
        </a:p>
      </dgm:t>
    </dgm:pt>
    <dgm:pt modelId="{D1B40630-B72F-4907-9450-5978CF450DF2}" type="sibTrans" cxnId="{08568FCA-225A-4FC1-BF29-9E864BDCA3DA}">
      <dgm:prSet/>
      <dgm:spPr/>
      <dgm:t>
        <a:bodyPr/>
        <a:lstStyle/>
        <a:p>
          <a:endParaRPr lang="nb-NO"/>
        </a:p>
      </dgm:t>
    </dgm:pt>
    <dgm:pt modelId="{21B54848-8FDB-46C5-9CFA-E8099A1E9035}">
      <dgm:prSet phldrT="[Text]" custT="1"/>
      <dgm:spPr/>
      <dgm:t>
        <a:bodyPr/>
        <a:lstStyle/>
        <a:p>
          <a:r>
            <a:rPr lang="nb-NO" sz="1600" b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rPr>
            <a:t>Jan</a:t>
          </a:r>
        </a:p>
      </dgm:t>
    </dgm:pt>
    <dgm:pt modelId="{DC274400-A277-4130-A688-FF443B585532}" type="parTrans" cxnId="{515E7155-6F6C-4FFD-9173-3C59956DB9F5}">
      <dgm:prSet/>
      <dgm:spPr/>
      <dgm:t>
        <a:bodyPr/>
        <a:lstStyle/>
        <a:p>
          <a:endParaRPr lang="nb-NO"/>
        </a:p>
      </dgm:t>
    </dgm:pt>
    <dgm:pt modelId="{0D98942E-E2A2-4A2B-9933-102318680017}" type="sibTrans" cxnId="{515E7155-6F6C-4FFD-9173-3C59956DB9F5}">
      <dgm:prSet/>
      <dgm:spPr/>
      <dgm:t>
        <a:bodyPr/>
        <a:lstStyle/>
        <a:p>
          <a:endParaRPr lang="nb-NO"/>
        </a:p>
      </dgm:t>
    </dgm:pt>
    <dgm:pt modelId="{B901B503-3290-41FB-B3F8-0B587FC33E3B}">
      <dgm:prSet phldrT="[Text]" custT="1"/>
      <dgm:spPr/>
      <dgm:t>
        <a:bodyPr/>
        <a:lstStyle/>
        <a:p>
          <a:r>
            <a:rPr lang="nb-NO" sz="1600" b="0" err="1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rPr>
            <a:t>Apr</a:t>
          </a:r>
          <a:endParaRPr lang="nb-NO" sz="1600" b="0">
            <a:solidFill>
              <a:schemeClr val="bg1"/>
            </a:solidFill>
            <a:latin typeface="Poppins" panose="00000500000000000000" pitchFamily="2" charset="0"/>
            <a:cs typeface="Poppins" panose="00000500000000000000" pitchFamily="2" charset="0"/>
          </a:endParaRPr>
        </a:p>
      </dgm:t>
    </dgm:pt>
    <dgm:pt modelId="{57454D4F-3791-4ABF-A2BC-076FD55B9CF3}" type="sibTrans" cxnId="{56B06ACF-81EE-47CE-909C-8309BA40628F}">
      <dgm:prSet/>
      <dgm:spPr/>
      <dgm:t>
        <a:bodyPr/>
        <a:lstStyle/>
        <a:p>
          <a:endParaRPr lang="nb-NO" b="1">
            <a:solidFill>
              <a:schemeClr val="bg1"/>
            </a:solidFill>
          </a:endParaRPr>
        </a:p>
      </dgm:t>
    </dgm:pt>
    <dgm:pt modelId="{6D4F6CFE-717B-46CE-9876-7C904312C07F}" type="parTrans" cxnId="{56B06ACF-81EE-47CE-909C-8309BA40628F}">
      <dgm:prSet/>
      <dgm:spPr/>
      <dgm:t>
        <a:bodyPr/>
        <a:lstStyle/>
        <a:p>
          <a:endParaRPr lang="nb-NO" b="1">
            <a:solidFill>
              <a:schemeClr val="bg1"/>
            </a:solidFill>
          </a:endParaRPr>
        </a:p>
      </dgm:t>
    </dgm:pt>
    <dgm:pt modelId="{EEF8DC9F-A7A5-4737-B6D7-71E40C66DD58}" type="pres">
      <dgm:prSet presAssocID="{FC295B7D-F857-4701-B417-8CA96F6BFFDD}" presName="Name0" presStyleCnt="0">
        <dgm:presLayoutVars>
          <dgm:dir/>
          <dgm:resizeHandles val="exact"/>
        </dgm:presLayoutVars>
      </dgm:prSet>
      <dgm:spPr/>
    </dgm:pt>
    <dgm:pt modelId="{6B98CBCD-E89E-4180-8377-1128BB900E75}" type="pres">
      <dgm:prSet presAssocID="{B901B503-3290-41FB-B3F8-0B587FC33E3B}" presName="parTxOnly" presStyleLbl="node1" presStyleIdx="0" presStyleCnt="10" custScaleY="72955">
        <dgm:presLayoutVars>
          <dgm:bulletEnabled val="1"/>
        </dgm:presLayoutVars>
      </dgm:prSet>
      <dgm:spPr/>
    </dgm:pt>
    <dgm:pt modelId="{7532E259-5AF4-4BE9-8827-7DA286DF1CEB}" type="pres">
      <dgm:prSet presAssocID="{57454D4F-3791-4ABF-A2BC-076FD55B9CF3}" presName="parSpace" presStyleCnt="0"/>
      <dgm:spPr/>
    </dgm:pt>
    <dgm:pt modelId="{AF814335-286D-4A63-9B4D-2D3466461DDB}" type="pres">
      <dgm:prSet presAssocID="{6ADA94F4-E964-464C-B81A-A5997DE1D7EE}" presName="parTxOnly" presStyleLbl="node1" presStyleIdx="1" presStyleCnt="10" custScaleY="72955">
        <dgm:presLayoutVars>
          <dgm:bulletEnabled val="1"/>
        </dgm:presLayoutVars>
      </dgm:prSet>
      <dgm:spPr/>
    </dgm:pt>
    <dgm:pt modelId="{9E772E0C-A598-4235-BC54-43B82487BE6B}" type="pres">
      <dgm:prSet presAssocID="{75DFA3E5-F7D5-4357-B890-DAE32F1ECAD2}" presName="parSpace" presStyleCnt="0"/>
      <dgm:spPr/>
    </dgm:pt>
    <dgm:pt modelId="{A10BF886-FB56-4505-A18A-A6E570242149}" type="pres">
      <dgm:prSet presAssocID="{BBE09310-B4AE-4B0A-A01F-157614B446AF}" presName="parTxOnly" presStyleLbl="node1" presStyleIdx="2" presStyleCnt="10" custScaleY="72955">
        <dgm:presLayoutVars>
          <dgm:bulletEnabled val="1"/>
        </dgm:presLayoutVars>
      </dgm:prSet>
      <dgm:spPr/>
    </dgm:pt>
    <dgm:pt modelId="{B1B1D131-C83B-45DF-87BB-551769A4FBC2}" type="pres">
      <dgm:prSet presAssocID="{CDF7D30C-FA32-432A-953F-93CD0BF53FE5}" presName="parSpace" presStyleCnt="0"/>
      <dgm:spPr/>
    </dgm:pt>
    <dgm:pt modelId="{395877A3-2998-45B1-8766-D05006EF8E29}" type="pres">
      <dgm:prSet presAssocID="{59C00689-6E1F-4D4F-B61B-93E45C162884}" presName="parTxOnly" presStyleLbl="node1" presStyleIdx="3" presStyleCnt="10" custScaleY="72955">
        <dgm:presLayoutVars>
          <dgm:bulletEnabled val="1"/>
        </dgm:presLayoutVars>
      </dgm:prSet>
      <dgm:spPr/>
    </dgm:pt>
    <dgm:pt modelId="{E51B4D1F-BE70-4027-A953-1181740A4BB8}" type="pres">
      <dgm:prSet presAssocID="{A7649572-3E4D-4ECA-ADCC-1D212F68A805}" presName="parSpace" presStyleCnt="0"/>
      <dgm:spPr/>
    </dgm:pt>
    <dgm:pt modelId="{A379D365-20DF-4073-A1AB-BA299F9B590E}" type="pres">
      <dgm:prSet presAssocID="{12382D85-ACFD-490F-888C-2114F27C4BF7}" presName="parTxOnly" presStyleLbl="node1" presStyleIdx="4" presStyleCnt="10" custScaleY="72955">
        <dgm:presLayoutVars>
          <dgm:bulletEnabled val="1"/>
        </dgm:presLayoutVars>
      </dgm:prSet>
      <dgm:spPr/>
    </dgm:pt>
    <dgm:pt modelId="{90BD7D04-31E3-477D-8AA8-26AD80BB62E0}" type="pres">
      <dgm:prSet presAssocID="{9922AC5B-B516-4927-B774-10F116070995}" presName="parSpace" presStyleCnt="0"/>
      <dgm:spPr/>
    </dgm:pt>
    <dgm:pt modelId="{3ED65369-217E-4D49-9F64-4471C6F48357}" type="pres">
      <dgm:prSet presAssocID="{8EC9E499-5048-4496-9520-D91A43C8118D}" presName="parTxOnly" presStyleLbl="node1" presStyleIdx="5" presStyleCnt="10" custScaleY="72955">
        <dgm:presLayoutVars>
          <dgm:bulletEnabled val="1"/>
        </dgm:presLayoutVars>
      </dgm:prSet>
      <dgm:spPr/>
    </dgm:pt>
    <dgm:pt modelId="{1E8306B6-1370-4444-B39B-692DFBDC6CFD}" type="pres">
      <dgm:prSet presAssocID="{B36EEDC4-3639-4C95-9876-E0FE934E62ED}" presName="parSpace" presStyleCnt="0"/>
      <dgm:spPr/>
    </dgm:pt>
    <dgm:pt modelId="{2D49D640-C7D1-4468-B187-B2874A901B0B}" type="pres">
      <dgm:prSet presAssocID="{1BBE3D0C-6B6F-4B3A-A712-A00526757103}" presName="parTxOnly" presStyleLbl="node1" presStyleIdx="6" presStyleCnt="10" custScaleY="72955">
        <dgm:presLayoutVars>
          <dgm:bulletEnabled val="1"/>
        </dgm:presLayoutVars>
      </dgm:prSet>
      <dgm:spPr/>
    </dgm:pt>
    <dgm:pt modelId="{BB666EE6-0491-4B9A-A011-5CC94620A38F}" type="pres">
      <dgm:prSet presAssocID="{CAC54404-968E-47F7-A61A-1DA0B1A42840}" presName="parSpace" presStyleCnt="0"/>
      <dgm:spPr/>
    </dgm:pt>
    <dgm:pt modelId="{FF492FC4-140E-4C27-B8F3-3E7AF3B20685}" type="pres">
      <dgm:prSet presAssocID="{C7C767CE-B71D-44DD-9F07-1172A1A708BB}" presName="parTxOnly" presStyleLbl="node1" presStyleIdx="7" presStyleCnt="10" custScaleY="72955">
        <dgm:presLayoutVars>
          <dgm:bulletEnabled val="1"/>
        </dgm:presLayoutVars>
      </dgm:prSet>
      <dgm:spPr/>
    </dgm:pt>
    <dgm:pt modelId="{81B92518-44CC-4C56-8843-364F0A18D34B}" type="pres">
      <dgm:prSet presAssocID="{0DF525DA-6D96-4524-BFE8-E8A7C9CA5F2C}" presName="parSpace" presStyleCnt="0"/>
      <dgm:spPr/>
    </dgm:pt>
    <dgm:pt modelId="{69B9C239-A640-47DE-8FA8-530005BC0264}" type="pres">
      <dgm:prSet presAssocID="{3C64A591-0BC8-4EF1-8248-D4064C01235D}" presName="parTxOnly" presStyleLbl="node1" presStyleIdx="8" presStyleCnt="10" custScaleY="71873">
        <dgm:presLayoutVars>
          <dgm:bulletEnabled val="1"/>
        </dgm:presLayoutVars>
      </dgm:prSet>
      <dgm:spPr/>
    </dgm:pt>
    <dgm:pt modelId="{5CAAA118-D299-4629-AFA3-F33A55023536}" type="pres">
      <dgm:prSet presAssocID="{D1B40630-B72F-4907-9450-5978CF450DF2}" presName="parSpace" presStyleCnt="0"/>
      <dgm:spPr/>
    </dgm:pt>
    <dgm:pt modelId="{FA95D12B-05CA-44EA-BAC0-B7CE16FEA204}" type="pres">
      <dgm:prSet presAssocID="{21B54848-8FDB-46C5-9CFA-E8099A1E9035}" presName="parTxOnly" presStyleLbl="node1" presStyleIdx="9" presStyleCnt="10" custScaleY="71873">
        <dgm:presLayoutVars>
          <dgm:bulletEnabled val="1"/>
        </dgm:presLayoutVars>
      </dgm:prSet>
      <dgm:spPr/>
    </dgm:pt>
  </dgm:ptLst>
  <dgm:cxnLst>
    <dgm:cxn modelId="{FDB73E04-4643-4051-B61F-32206937C126}" type="presOf" srcId="{1BBE3D0C-6B6F-4B3A-A712-A00526757103}" destId="{2D49D640-C7D1-4468-B187-B2874A901B0B}" srcOrd="0" destOrd="0" presId="urn:microsoft.com/office/officeart/2005/8/layout/hChevron3"/>
    <dgm:cxn modelId="{0E933E11-00F1-4691-B962-346168B65535}" type="presOf" srcId="{21B54848-8FDB-46C5-9CFA-E8099A1E9035}" destId="{FA95D12B-05CA-44EA-BAC0-B7CE16FEA204}" srcOrd="0" destOrd="0" presId="urn:microsoft.com/office/officeart/2005/8/layout/hChevron3"/>
    <dgm:cxn modelId="{4B114B18-FFCC-4E34-BC14-A8A8466BF32B}" srcId="{FC295B7D-F857-4701-B417-8CA96F6BFFDD}" destId="{8EC9E499-5048-4496-9520-D91A43C8118D}" srcOrd="5" destOrd="0" parTransId="{E076673E-F3DE-4CFA-A9E3-4364A71E63AB}" sibTransId="{B36EEDC4-3639-4C95-9876-E0FE934E62ED}"/>
    <dgm:cxn modelId="{B0D30623-49E5-4E75-BDEE-C8BF368B313C}" type="presOf" srcId="{FC295B7D-F857-4701-B417-8CA96F6BFFDD}" destId="{EEF8DC9F-A7A5-4737-B6D7-71E40C66DD58}" srcOrd="0" destOrd="0" presId="urn:microsoft.com/office/officeart/2005/8/layout/hChevron3"/>
    <dgm:cxn modelId="{73289334-0A54-4338-8A63-FD520DB4A789}" type="presOf" srcId="{3C64A591-0BC8-4EF1-8248-D4064C01235D}" destId="{69B9C239-A640-47DE-8FA8-530005BC0264}" srcOrd="0" destOrd="0" presId="urn:microsoft.com/office/officeart/2005/8/layout/hChevron3"/>
    <dgm:cxn modelId="{06509E40-E1EE-451C-BA75-8C2693C07295}" type="presOf" srcId="{59C00689-6E1F-4D4F-B61B-93E45C162884}" destId="{395877A3-2998-45B1-8766-D05006EF8E29}" srcOrd="0" destOrd="0" presId="urn:microsoft.com/office/officeart/2005/8/layout/hChevron3"/>
    <dgm:cxn modelId="{48224370-A21D-4159-8E3D-3AA4A5230E72}" srcId="{FC295B7D-F857-4701-B417-8CA96F6BFFDD}" destId="{C7C767CE-B71D-44DD-9F07-1172A1A708BB}" srcOrd="7" destOrd="0" parTransId="{12F37BFB-21C4-4647-BE4A-FB4ADB1A7835}" sibTransId="{0DF525DA-6D96-4524-BFE8-E8A7C9CA5F2C}"/>
    <dgm:cxn modelId="{515E7155-6F6C-4FFD-9173-3C59956DB9F5}" srcId="{FC295B7D-F857-4701-B417-8CA96F6BFFDD}" destId="{21B54848-8FDB-46C5-9CFA-E8099A1E9035}" srcOrd="9" destOrd="0" parTransId="{DC274400-A277-4130-A688-FF443B585532}" sibTransId="{0D98942E-E2A2-4A2B-9933-102318680017}"/>
    <dgm:cxn modelId="{B2C53778-00A3-4ECB-B45E-D9A80FFF4430}" srcId="{FC295B7D-F857-4701-B417-8CA96F6BFFDD}" destId="{6ADA94F4-E964-464C-B81A-A5997DE1D7EE}" srcOrd="1" destOrd="0" parTransId="{B8F8B226-D0E3-4D08-B384-255160124048}" sibTransId="{75DFA3E5-F7D5-4357-B890-DAE32F1ECAD2}"/>
    <dgm:cxn modelId="{06E96791-C78B-4A04-B271-120309917277}" srcId="{FC295B7D-F857-4701-B417-8CA96F6BFFDD}" destId="{BBE09310-B4AE-4B0A-A01F-157614B446AF}" srcOrd="2" destOrd="0" parTransId="{58093D7E-E63E-4895-8BC2-606D5BC6CEFF}" sibTransId="{CDF7D30C-FA32-432A-953F-93CD0BF53FE5}"/>
    <dgm:cxn modelId="{05DF6F9B-635A-466C-A3E4-29E6C351B3A5}" type="presOf" srcId="{6ADA94F4-E964-464C-B81A-A5997DE1D7EE}" destId="{AF814335-286D-4A63-9B4D-2D3466461DDB}" srcOrd="0" destOrd="0" presId="urn:microsoft.com/office/officeart/2005/8/layout/hChevron3"/>
    <dgm:cxn modelId="{05F482A7-E4D3-4CE5-BBB0-FEBDDA1A0715}" type="presOf" srcId="{8EC9E499-5048-4496-9520-D91A43C8118D}" destId="{3ED65369-217E-4D49-9F64-4471C6F48357}" srcOrd="0" destOrd="0" presId="urn:microsoft.com/office/officeart/2005/8/layout/hChevron3"/>
    <dgm:cxn modelId="{6B7121B2-1FEC-4832-A47B-0A99E724AC73}" type="presOf" srcId="{BBE09310-B4AE-4B0A-A01F-157614B446AF}" destId="{A10BF886-FB56-4505-A18A-A6E570242149}" srcOrd="0" destOrd="0" presId="urn:microsoft.com/office/officeart/2005/8/layout/hChevron3"/>
    <dgm:cxn modelId="{A585E6BB-D089-4675-89FE-67D979360D74}" srcId="{FC295B7D-F857-4701-B417-8CA96F6BFFDD}" destId="{1BBE3D0C-6B6F-4B3A-A712-A00526757103}" srcOrd="6" destOrd="0" parTransId="{8CA4EF54-DC83-45BA-BB4F-43A94C1BA681}" sibTransId="{CAC54404-968E-47F7-A61A-1DA0B1A42840}"/>
    <dgm:cxn modelId="{15F2F4C3-F0C7-4093-8B53-BC515EE11E5A}" type="presOf" srcId="{12382D85-ACFD-490F-888C-2114F27C4BF7}" destId="{A379D365-20DF-4073-A1AB-BA299F9B590E}" srcOrd="0" destOrd="0" presId="urn:microsoft.com/office/officeart/2005/8/layout/hChevron3"/>
    <dgm:cxn modelId="{091C0BCA-7C60-424B-BAAF-6E61323AF5C6}" type="presOf" srcId="{C7C767CE-B71D-44DD-9F07-1172A1A708BB}" destId="{FF492FC4-140E-4C27-B8F3-3E7AF3B20685}" srcOrd="0" destOrd="0" presId="urn:microsoft.com/office/officeart/2005/8/layout/hChevron3"/>
    <dgm:cxn modelId="{08568FCA-225A-4FC1-BF29-9E864BDCA3DA}" srcId="{FC295B7D-F857-4701-B417-8CA96F6BFFDD}" destId="{3C64A591-0BC8-4EF1-8248-D4064C01235D}" srcOrd="8" destOrd="0" parTransId="{8732A5CF-341C-4B6B-9BA0-1AEE322621AD}" sibTransId="{D1B40630-B72F-4907-9450-5978CF450DF2}"/>
    <dgm:cxn modelId="{56B06ACF-81EE-47CE-909C-8309BA40628F}" srcId="{FC295B7D-F857-4701-B417-8CA96F6BFFDD}" destId="{B901B503-3290-41FB-B3F8-0B587FC33E3B}" srcOrd="0" destOrd="0" parTransId="{6D4F6CFE-717B-46CE-9876-7C904312C07F}" sibTransId="{57454D4F-3791-4ABF-A2BC-076FD55B9CF3}"/>
    <dgm:cxn modelId="{3A57C3D0-2FDA-4BF1-89DB-CD5741083A75}" srcId="{FC295B7D-F857-4701-B417-8CA96F6BFFDD}" destId="{12382D85-ACFD-490F-888C-2114F27C4BF7}" srcOrd="4" destOrd="0" parTransId="{A7AB244B-E027-42E7-B6E3-5D858C1419CA}" sibTransId="{9922AC5B-B516-4927-B774-10F116070995}"/>
    <dgm:cxn modelId="{60D978E0-411C-498F-B2BF-ED02726DC0B0}" type="presOf" srcId="{B901B503-3290-41FB-B3F8-0B587FC33E3B}" destId="{6B98CBCD-E89E-4180-8377-1128BB900E75}" srcOrd="0" destOrd="0" presId="urn:microsoft.com/office/officeart/2005/8/layout/hChevron3"/>
    <dgm:cxn modelId="{2575DBF3-3FAC-4B73-A1A1-483876B34AE7}" srcId="{FC295B7D-F857-4701-B417-8CA96F6BFFDD}" destId="{59C00689-6E1F-4D4F-B61B-93E45C162884}" srcOrd="3" destOrd="0" parTransId="{630BEF09-07F7-4558-A51F-C17A34876320}" sibTransId="{A7649572-3E4D-4ECA-ADCC-1D212F68A805}"/>
    <dgm:cxn modelId="{C6BAF284-5307-41D5-A599-44957CD732B2}" type="presParOf" srcId="{EEF8DC9F-A7A5-4737-B6D7-71E40C66DD58}" destId="{6B98CBCD-E89E-4180-8377-1128BB900E75}" srcOrd="0" destOrd="0" presId="urn:microsoft.com/office/officeart/2005/8/layout/hChevron3"/>
    <dgm:cxn modelId="{352AE785-5171-4D3E-B6EF-3B22D2E2077E}" type="presParOf" srcId="{EEF8DC9F-A7A5-4737-B6D7-71E40C66DD58}" destId="{7532E259-5AF4-4BE9-8827-7DA286DF1CEB}" srcOrd="1" destOrd="0" presId="urn:microsoft.com/office/officeart/2005/8/layout/hChevron3"/>
    <dgm:cxn modelId="{10BA4780-6A9F-43FE-AF11-C848BCE0CC18}" type="presParOf" srcId="{EEF8DC9F-A7A5-4737-B6D7-71E40C66DD58}" destId="{AF814335-286D-4A63-9B4D-2D3466461DDB}" srcOrd="2" destOrd="0" presId="urn:microsoft.com/office/officeart/2005/8/layout/hChevron3"/>
    <dgm:cxn modelId="{D8EEA65A-A9AC-470F-8D3C-84D61D64504F}" type="presParOf" srcId="{EEF8DC9F-A7A5-4737-B6D7-71E40C66DD58}" destId="{9E772E0C-A598-4235-BC54-43B82487BE6B}" srcOrd="3" destOrd="0" presId="urn:microsoft.com/office/officeart/2005/8/layout/hChevron3"/>
    <dgm:cxn modelId="{2306827D-8A75-4C05-81CC-927CC5421D63}" type="presParOf" srcId="{EEF8DC9F-A7A5-4737-B6D7-71E40C66DD58}" destId="{A10BF886-FB56-4505-A18A-A6E570242149}" srcOrd="4" destOrd="0" presId="urn:microsoft.com/office/officeart/2005/8/layout/hChevron3"/>
    <dgm:cxn modelId="{8AC25B6D-A7AB-416B-934D-145C5A954D36}" type="presParOf" srcId="{EEF8DC9F-A7A5-4737-B6D7-71E40C66DD58}" destId="{B1B1D131-C83B-45DF-87BB-551769A4FBC2}" srcOrd="5" destOrd="0" presId="urn:microsoft.com/office/officeart/2005/8/layout/hChevron3"/>
    <dgm:cxn modelId="{45D29DDD-7576-4BF9-AA58-8D20A4231A26}" type="presParOf" srcId="{EEF8DC9F-A7A5-4737-B6D7-71E40C66DD58}" destId="{395877A3-2998-45B1-8766-D05006EF8E29}" srcOrd="6" destOrd="0" presId="urn:microsoft.com/office/officeart/2005/8/layout/hChevron3"/>
    <dgm:cxn modelId="{59D46CB9-123C-4B81-B0E3-37C9110DED65}" type="presParOf" srcId="{EEF8DC9F-A7A5-4737-B6D7-71E40C66DD58}" destId="{E51B4D1F-BE70-4027-A953-1181740A4BB8}" srcOrd="7" destOrd="0" presId="urn:microsoft.com/office/officeart/2005/8/layout/hChevron3"/>
    <dgm:cxn modelId="{16C2B860-76BD-4DAE-A2A2-8E257EB4D8BF}" type="presParOf" srcId="{EEF8DC9F-A7A5-4737-B6D7-71E40C66DD58}" destId="{A379D365-20DF-4073-A1AB-BA299F9B590E}" srcOrd="8" destOrd="0" presId="urn:microsoft.com/office/officeart/2005/8/layout/hChevron3"/>
    <dgm:cxn modelId="{DDE2C823-8978-4656-ACB5-1317E77F2F6D}" type="presParOf" srcId="{EEF8DC9F-A7A5-4737-B6D7-71E40C66DD58}" destId="{90BD7D04-31E3-477D-8AA8-26AD80BB62E0}" srcOrd="9" destOrd="0" presId="urn:microsoft.com/office/officeart/2005/8/layout/hChevron3"/>
    <dgm:cxn modelId="{F5824407-8719-47CE-91EF-DE0227EDDB67}" type="presParOf" srcId="{EEF8DC9F-A7A5-4737-B6D7-71E40C66DD58}" destId="{3ED65369-217E-4D49-9F64-4471C6F48357}" srcOrd="10" destOrd="0" presId="urn:microsoft.com/office/officeart/2005/8/layout/hChevron3"/>
    <dgm:cxn modelId="{338838B8-546A-42B9-9C18-CD34E31DC45C}" type="presParOf" srcId="{EEF8DC9F-A7A5-4737-B6D7-71E40C66DD58}" destId="{1E8306B6-1370-4444-B39B-692DFBDC6CFD}" srcOrd="11" destOrd="0" presId="urn:microsoft.com/office/officeart/2005/8/layout/hChevron3"/>
    <dgm:cxn modelId="{023BBC86-6F0B-428E-A7B9-E7A266696288}" type="presParOf" srcId="{EEF8DC9F-A7A5-4737-B6D7-71E40C66DD58}" destId="{2D49D640-C7D1-4468-B187-B2874A901B0B}" srcOrd="12" destOrd="0" presId="urn:microsoft.com/office/officeart/2005/8/layout/hChevron3"/>
    <dgm:cxn modelId="{9A79F27C-0D5C-463E-9C67-BC68518626B1}" type="presParOf" srcId="{EEF8DC9F-A7A5-4737-B6D7-71E40C66DD58}" destId="{BB666EE6-0491-4B9A-A011-5CC94620A38F}" srcOrd="13" destOrd="0" presId="urn:microsoft.com/office/officeart/2005/8/layout/hChevron3"/>
    <dgm:cxn modelId="{FA173660-D176-420D-95DA-9B24168CEBA5}" type="presParOf" srcId="{EEF8DC9F-A7A5-4737-B6D7-71E40C66DD58}" destId="{FF492FC4-140E-4C27-B8F3-3E7AF3B20685}" srcOrd="14" destOrd="0" presId="urn:microsoft.com/office/officeart/2005/8/layout/hChevron3"/>
    <dgm:cxn modelId="{9146EA89-1348-452F-9D23-0177444C30B7}" type="presParOf" srcId="{EEF8DC9F-A7A5-4737-B6D7-71E40C66DD58}" destId="{81B92518-44CC-4C56-8843-364F0A18D34B}" srcOrd="15" destOrd="0" presId="urn:microsoft.com/office/officeart/2005/8/layout/hChevron3"/>
    <dgm:cxn modelId="{55139B06-75BC-4F58-99C3-2138DE841A27}" type="presParOf" srcId="{EEF8DC9F-A7A5-4737-B6D7-71E40C66DD58}" destId="{69B9C239-A640-47DE-8FA8-530005BC0264}" srcOrd="16" destOrd="0" presId="urn:microsoft.com/office/officeart/2005/8/layout/hChevron3"/>
    <dgm:cxn modelId="{FA9797BE-6E9D-46D6-BCC3-F02F71A03E92}" type="presParOf" srcId="{EEF8DC9F-A7A5-4737-B6D7-71E40C66DD58}" destId="{5CAAA118-D299-4629-AFA3-F33A55023536}" srcOrd="17" destOrd="0" presId="urn:microsoft.com/office/officeart/2005/8/layout/hChevron3"/>
    <dgm:cxn modelId="{661394B0-2398-4562-B1CA-B6B6393236E3}" type="presParOf" srcId="{EEF8DC9F-A7A5-4737-B6D7-71E40C66DD58}" destId="{FA95D12B-05CA-44EA-BAC0-B7CE16FEA204}" srcOrd="18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B98CBCD-E89E-4180-8377-1128BB900E75}">
      <dsp:nvSpPr>
        <dsp:cNvPr id="0" name=""/>
        <dsp:cNvSpPr/>
      </dsp:nvSpPr>
      <dsp:spPr>
        <a:xfrm>
          <a:off x="110" y="192810"/>
          <a:ext cx="1108121" cy="323372"/>
        </a:xfrm>
        <a:prstGeom prst="homePlate">
          <a:avLst/>
        </a:prstGeom>
        <a:solidFill>
          <a:schemeClr val="accent1">
            <a:shade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b="0" kern="1200" err="1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rPr>
            <a:t>Apr</a:t>
          </a:r>
          <a:endParaRPr lang="nb-NO" sz="1600" b="0" kern="1200">
            <a:solidFill>
              <a:schemeClr val="bg1"/>
            </a:solidFill>
            <a:latin typeface="Poppins" panose="00000500000000000000" pitchFamily="2" charset="0"/>
            <a:cs typeface="Poppins" panose="00000500000000000000" pitchFamily="2" charset="0"/>
          </a:endParaRPr>
        </a:p>
      </dsp:txBody>
      <dsp:txXfrm>
        <a:off x="110" y="192810"/>
        <a:ext cx="1027278" cy="323372"/>
      </dsp:txXfrm>
    </dsp:sp>
    <dsp:sp modelId="{AF814335-286D-4A63-9B4D-2D3466461DDB}">
      <dsp:nvSpPr>
        <dsp:cNvPr id="0" name=""/>
        <dsp:cNvSpPr/>
      </dsp:nvSpPr>
      <dsp:spPr>
        <a:xfrm>
          <a:off x="886608" y="192810"/>
          <a:ext cx="1108121" cy="323372"/>
        </a:xfrm>
        <a:prstGeom prst="chevron">
          <a:avLst/>
        </a:prstGeom>
        <a:solidFill>
          <a:schemeClr val="accent1">
            <a:shade val="50000"/>
            <a:hueOff val="15261"/>
            <a:satOff val="6467"/>
            <a:lumOff val="620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b="0" kern="120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rPr>
            <a:t>Mai</a:t>
          </a:r>
        </a:p>
      </dsp:txBody>
      <dsp:txXfrm>
        <a:off x="1048294" y="192810"/>
        <a:ext cx="784749" cy="323372"/>
      </dsp:txXfrm>
    </dsp:sp>
    <dsp:sp modelId="{A10BF886-FB56-4505-A18A-A6E570242149}">
      <dsp:nvSpPr>
        <dsp:cNvPr id="0" name=""/>
        <dsp:cNvSpPr/>
      </dsp:nvSpPr>
      <dsp:spPr>
        <a:xfrm>
          <a:off x="1773106" y="192810"/>
          <a:ext cx="1108121" cy="323372"/>
        </a:xfrm>
        <a:prstGeom prst="chevron">
          <a:avLst/>
        </a:prstGeom>
        <a:solidFill>
          <a:schemeClr val="accent1">
            <a:shade val="50000"/>
            <a:hueOff val="30523"/>
            <a:satOff val="12933"/>
            <a:lumOff val="1240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b="0" kern="120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rPr>
            <a:t>Jun</a:t>
          </a:r>
        </a:p>
      </dsp:txBody>
      <dsp:txXfrm>
        <a:off x="1934792" y="192810"/>
        <a:ext cx="784749" cy="323372"/>
      </dsp:txXfrm>
    </dsp:sp>
    <dsp:sp modelId="{395877A3-2998-45B1-8766-D05006EF8E29}">
      <dsp:nvSpPr>
        <dsp:cNvPr id="0" name=""/>
        <dsp:cNvSpPr/>
      </dsp:nvSpPr>
      <dsp:spPr>
        <a:xfrm>
          <a:off x="2659603" y="192810"/>
          <a:ext cx="1108121" cy="323372"/>
        </a:xfrm>
        <a:prstGeom prst="chevron">
          <a:avLst/>
        </a:prstGeom>
        <a:solidFill>
          <a:schemeClr val="accent1">
            <a:shade val="50000"/>
            <a:hueOff val="45784"/>
            <a:satOff val="19400"/>
            <a:lumOff val="1861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b="0" kern="120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rPr>
            <a:t>Jul</a:t>
          </a:r>
        </a:p>
      </dsp:txBody>
      <dsp:txXfrm>
        <a:off x="2821289" y="192810"/>
        <a:ext cx="784749" cy="323372"/>
      </dsp:txXfrm>
    </dsp:sp>
    <dsp:sp modelId="{A379D365-20DF-4073-A1AB-BA299F9B590E}">
      <dsp:nvSpPr>
        <dsp:cNvPr id="0" name=""/>
        <dsp:cNvSpPr/>
      </dsp:nvSpPr>
      <dsp:spPr>
        <a:xfrm>
          <a:off x="3546101" y="192810"/>
          <a:ext cx="1108121" cy="323372"/>
        </a:xfrm>
        <a:prstGeom prst="chevron">
          <a:avLst/>
        </a:prstGeom>
        <a:solidFill>
          <a:schemeClr val="accent1">
            <a:shade val="50000"/>
            <a:hueOff val="61045"/>
            <a:satOff val="25866"/>
            <a:lumOff val="2481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b="0" kern="120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rPr>
            <a:t>Aug</a:t>
          </a:r>
        </a:p>
      </dsp:txBody>
      <dsp:txXfrm>
        <a:off x="3707787" y="192810"/>
        <a:ext cx="784749" cy="323372"/>
      </dsp:txXfrm>
    </dsp:sp>
    <dsp:sp modelId="{3ED65369-217E-4D49-9F64-4471C6F48357}">
      <dsp:nvSpPr>
        <dsp:cNvPr id="0" name=""/>
        <dsp:cNvSpPr/>
      </dsp:nvSpPr>
      <dsp:spPr>
        <a:xfrm>
          <a:off x="4432598" y="192810"/>
          <a:ext cx="1108121" cy="323372"/>
        </a:xfrm>
        <a:prstGeom prst="chevron">
          <a:avLst/>
        </a:prstGeom>
        <a:solidFill>
          <a:schemeClr val="accent1">
            <a:shade val="50000"/>
            <a:hueOff val="76306"/>
            <a:satOff val="32333"/>
            <a:lumOff val="3102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b="0" kern="1200" err="1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rPr>
            <a:t>Sep</a:t>
          </a:r>
          <a:endParaRPr lang="nb-NO" sz="1600" b="0" kern="1200">
            <a:solidFill>
              <a:schemeClr val="bg1"/>
            </a:solidFill>
            <a:latin typeface="Poppins" panose="00000500000000000000" pitchFamily="2" charset="0"/>
            <a:cs typeface="Poppins" panose="00000500000000000000" pitchFamily="2" charset="0"/>
          </a:endParaRPr>
        </a:p>
      </dsp:txBody>
      <dsp:txXfrm>
        <a:off x="4594284" y="192810"/>
        <a:ext cx="784749" cy="323372"/>
      </dsp:txXfrm>
    </dsp:sp>
    <dsp:sp modelId="{2D49D640-C7D1-4468-B187-B2874A901B0B}">
      <dsp:nvSpPr>
        <dsp:cNvPr id="0" name=""/>
        <dsp:cNvSpPr/>
      </dsp:nvSpPr>
      <dsp:spPr>
        <a:xfrm>
          <a:off x="5319096" y="192810"/>
          <a:ext cx="1108121" cy="323372"/>
        </a:xfrm>
        <a:prstGeom prst="chevron">
          <a:avLst/>
        </a:prstGeom>
        <a:solidFill>
          <a:schemeClr val="accent1">
            <a:shade val="50000"/>
            <a:hueOff val="61045"/>
            <a:satOff val="25866"/>
            <a:lumOff val="2481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b="0" kern="120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rPr>
            <a:t>Okt</a:t>
          </a:r>
        </a:p>
      </dsp:txBody>
      <dsp:txXfrm>
        <a:off x="5480782" y="192810"/>
        <a:ext cx="784749" cy="323372"/>
      </dsp:txXfrm>
    </dsp:sp>
    <dsp:sp modelId="{FF492FC4-140E-4C27-B8F3-3E7AF3B20685}">
      <dsp:nvSpPr>
        <dsp:cNvPr id="0" name=""/>
        <dsp:cNvSpPr/>
      </dsp:nvSpPr>
      <dsp:spPr>
        <a:xfrm>
          <a:off x="6205593" y="192810"/>
          <a:ext cx="1108121" cy="323372"/>
        </a:xfrm>
        <a:prstGeom prst="chevron">
          <a:avLst/>
        </a:prstGeom>
        <a:solidFill>
          <a:schemeClr val="accent1">
            <a:shade val="50000"/>
            <a:hueOff val="45784"/>
            <a:satOff val="19400"/>
            <a:lumOff val="1861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b="0" kern="120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rPr>
            <a:t>Nov</a:t>
          </a:r>
        </a:p>
      </dsp:txBody>
      <dsp:txXfrm>
        <a:off x="6367279" y="192810"/>
        <a:ext cx="784749" cy="323372"/>
      </dsp:txXfrm>
    </dsp:sp>
    <dsp:sp modelId="{69B9C239-A640-47DE-8FA8-530005BC0264}">
      <dsp:nvSpPr>
        <dsp:cNvPr id="0" name=""/>
        <dsp:cNvSpPr/>
      </dsp:nvSpPr>
      <dsp:spPr>
        <a:xfrm>
          <a:off x="7092091" y="195208"/>
          <a:ext cx="1108121" cy="318576"/>
        </a:xfrm>
        <a:prstGeom prst="chevron">
          <a:avLst/>
        </a:prstGeom>
        <a:solidFill>
          <a:schemeClr val="accent1">
            <a:shade val="50000"/>
            <a:hueOff val="30523"/>
            <a:satOff val="12933"/>
            <a:lumOff val="1240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b="0" kern="120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rPr>
            <a:t>Des</a:t>
          </a:r>
        </a:p>
      </dsp:txBody>
      <dsp:txXfrm>
        <a:off x="7251379" y="195208"/>
        <a:ext cx="789545" cy="318576"/>
      </dsp:txXfrm>
    </dsp:sp>
    <dsp:sp modelId="{FA95D12B-05CA-44EA-BAC0-B7CE16FEA204}">
      <dsp:nvSpPr>
        <dsp:cNvPr id="0" name=""/>
        <dsp:cNvSpPr/>
      </dsp:nvSpPr>
      <dsp:spPr>
        <a:xfrm>
          <a:off x="7978589" y="195208"/>
          <a:ext cx="1108121" cy="318576"/>
        </a:xfrm>
        <a:prstGeom prst="chevron">
          <a:avLst/>
        </a:prstGeom>
        <a:solidFill>
          <a:schemeClr val="accent1">
            <a:shade val="50000"/>
            <a:hueOff val="15261"/>
            <a:satOff val="6467"/>
            <a:lumOff val="620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b="0" kern="120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rPr>
            <a:t>Jan</a:t>
          </a:r>
        </a:p>
      </dsp:txBody>
      <dsp:txXfrm>
        <a:off x="8137877" y="195208"/>
        <a:ext cx="789545" cy="31857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04836B-86EB-4840-BA74-375931C815F8}" type="datetimeFigureOut">
              <a:rPr lang="nb-NO" smtClean="0"/>
              <a:t>14.12.2023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8A5336-0E9C-4561-89BD-7605D333CA4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386574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200"/>
              </a:lnSpc>
            </a:pPr>
            <a:r>
              <a:rPr lang="nb-NO" sz="1000">
                <a:solidFill>
                  <a:srgbClr val="FF0000"/>
                </a:solidFill>
                <a:effectLst/>
                <a:latin typeface="Calibri Light" panose="020F0302020204030204" pitchFamily="34" charset="0"/>
                <a:ea typeface="Calibri Light" panose="020F0302020204030204" pitchFamily="34" charset="0"/>
                <a:cs typeface="Times New Roman" panose="02020603050405020304" pitchFamily="18" charset="0"/>
              </a:rPr>
              <a:t>Hva er bra:</a:t>
            </a:r>
            <a:endParaRPr lang="nb-NO" sz="900">
              <a:effectLst/>
              <a:latin typeface="Calibri Light" panose="020F0302020204030204" pitchFamily="34" charset="0"/>
              <a:ea typeface="Calibri Light" panose="020F03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457200" algn="l"/>
              </a:tabLst>
            </a:pPr>
            <a:r>
              <a:rPr lang="nb-NO" sz="1000">
                <a:solidFill>
                  <a:srgbClr val="FF0000"/>
                </a:solidFill>
                <a:effectLst/>
                <a:latin typeface="Calibri Light" panose="020F0302020204030204" pitchFamily="34" charset="0"/>
                <a:ea typeface="Calibri Light" panose="020F0302020204030204" pitchFamily="34" charset="0"/>
                <a:cs typeface="Times New Roman" panose="02020603050405020304" pitchFamily="18" charset="0"/>
              </a:rPr>
              <a:t>Gjenbruk av data </a:t>
            </a:r>
            <a:endParaRPr lang="nb-NO" sz="900">
              <a:effectLst/>
              <a:latin typeface="Calibri Light" panose="020F0302020204030204" pitchFamily="34" charset="0"/>
              <a:ea typeface="Calibri Light" panose="020F0302020204030204" pitchFamily="34" charset="0"/>
              <a:cs typeface="Times New Roman" panose="02020603050405020304" pitchFamily="18" charset="0"/>
            </a:endParaRPr>
          </a:p>
          <a:p>
            <a:pPr marL="742950" lvl="1" indent="-285750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914400" algn="l"/>
              </a:tabLst>
            </a:pPr>
            <a:r>
              <a:rPr lang="nb-NO" sz="1000">
                <a:solidFill>
                  <a:srgbClr val="FF0000"/>
                </a:solidFill>
                <a:effectLst/>
                <a:latin typeface="Calibri Light" panose="020F0302020204030204" pitchFamily="34" charset="0"/>
                <a:ea typeface="Calibri Light" panose="020F0302020204030204" pitchFamily="34" charset="0"/>
                <a:cs typeface="Times New Roman" panose="02020603050405020304" pitchFamily="18" charset="0"/>
              </a:rPr>
              <a:t>Søknadene registreres i søknadsmodulen, kan modifiseres i kontraktfasen og overføres til prosjektmodulen. </a:t>
            </a:r>
            <a:endParaRPr lang="nb-NO" sz="900">
              <a:effectLst/>
              <a:latin typeface="Calibri Light" panose="020F0302020204030204" pitchFamily="34" charset="0"/>
              <a:ea typeface="Calibri Light" panose="020F0302020204030204" pitchFamily="34" charset="0"/>
              <a:cs typeface="Times New Roman" panose="02020603050405020304" pitchFamily="18" charset="0"/>
            </a:endParaRPr>
          </a:p>
          <a:p>
            <a:pPr marL="742950" lvl="1" indent="-285750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914400" algn="l"/>
              </a:tabLst>
            </a:pPr>
            <a:r>
              <a:rPr lang="nb-NO" sz="1000">
                <a:solidFill>
                  <a:srgbClr val="FF0000"/>
                </a:solidFill>
                <a:effectLst/>
                <a:latin typeface="Calibri Light" panose="020F0302020204030204" pitchFamily="34" charset="0"/>
                <a:ea typeface="Calibri Light" panose="020F0302020204030204" pitchFamily="34" charset="0"/>
                <a:cs typeface="Times New Roman" panose="02020603050405020304" pitchFamily="18" charset="0"/>
              </a:rPr>
              <a:t>Kopiere tidligere søknader for å lage nye.</a:t>
            </a:r>
            <a:endParaRPr lang="nb-NO" sz="900">
              <a:effectLst/>
              <a:latin typeface="Calibri Light" panose="020F0302020204030204" pitchFamily="34" charset="0"/>
              <a:ea typeface="Calibri Light" panose="020F0302020204030204" pitchFamily="34" charset="0"/>
              <a:cs typeface="Times New Roman" panose="02020603050405020304" pitchFamily="18" charset="0"/>
            </a:endParaRPr>
          </a:p>
          <a:p>
            <a:pPr marL="742950" lvl="1" indent="-285750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914400" algn="l"/>
              </a:tabLst>
            </a:pPr>
            <a:r>
              <a:rPr lang="nb-NO" sz="1000">
                <a:solidFill>
                  <a:srgbClr val="FF0000"/>
                </a:solidFill>
                <a:effectLst/>
                <a:latin typeface="Calibri Light" panose="020F0302020204030204" pitchFamily="34" charset="0"/>
                <a:ea typeface="Calibri Light" panose="020F0302020204030204" pitchFamily="34" charset="0"/>
                <a:cs typeface="Times New Roman" panose="02020603050405020304" pitchFamily="18" charset="0"/>
              </a:rPr>
              <a:t>Standardisert informasjon (samme </a:t>
            </a:r>
            <a:r>
              <a:rPr lang="nb-NO" sz="1000" err="1">
                <a:solidFill>
                  <a:srgbClr val="FF0000"/>
                </a:solidFill>
                <a:effectLst/>
                <a:latin typeface="Calibri Light" panose="020F0302020204030204" pitchFamily="34" charset="0"/>
                <a:ea typeface="Calibri Light" panose="020F0302020204030204" pitchFamily="34" charset="0"/>
                <a:cs typeface="Times New Roman" panose="02020603050405020304" pitchFamily="18" charset="0"/>
              </a:rPr>
              <a:t>tdi</a:t>
            </a:r>
            <a:r>
              <a:rPr lang="nb-NO" sz="1000">
                <a:solidFill>
                  <a:srgbClr val="FF0000"/>
                </a:solidFill>
                <a:effectLst/>
                <a:latin typeface="Calibri Light" panose="020F0302020204030204" pitchFamily="34" charset="0"/>
                <a:ea typeface="Calibri Light" panose="020F0302020204030204" pitchFamily="34" charset="0"/>
                <a:cs typeface="Times New Roman" panose="02020603050405020304" pitchFamily="18" charset="0"/>
              </a:rPr>
              <a:t>-satser, sikrer riktig inndata, riktig </a:t>
            </a:r>
            <a:r>
              <a:rPr lang="nb-NO" sz="1000" err="1">
                <a:solidFill>
                  <a:srgbClr val="FF0000"/>
                </a:solidFill>
                <a:effectLst/>
                <a:latin typeface="Calibri Light" panose="020F0302020204030204" pitchFamily="34" charset="0"/>
                <a:ea typeface="Calibri Light" panose="020F0302020204030204" pitchFamily="34" charset="0"/>
                <a:cs typeface="Times New Roman" panose="02020603050405020304" pitchFamily="18" charset="0"/>
              </a:rPr>
              <a:t>rundsum</a:t>
            </a:r>
            <a:r>
              <a:rPr lang="nb-NO" sz="1000">
                <a:solidFill>
                  <a:srgbClr val="FF0000"/>
                </a:solidFill>
                <a:effectLst/>
                <a:latin typeface="Calibri Light" panose="020F0302020204030204" pitchFamily="34" charset="0"/>
                <a:ea typeface="Calibri Light" panose="020F0302020204030204" pitchFamily="34" charset="0"/>
                <a:cs typeface="Times New Roman" panose="02020603050405020304" pitchFamily="18" charset="0"/>
              </a:rPr>
              <a:t>, riktig lønn fra SAP)</a:t>
            </a:r>
            <a:endParaRPr lang="nb-NO" sz="900">
              <a:effectLst/>
              <a:latin typeface="Calibri Light" panose="020F0302020204030204" pitchFamily="34" charset="0"/>
              <a:ea typeface="Calibri Light" panose="020F03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457200" algn="l"/>
              </a:tabLst>
            </a:pPr>
            <a:r>
              <a:rPr lang="nb-NO" sz="1000">
                <a:solidFill>
                  <a:srgbClr val="FF0000"/>
                </a:solidFill>
                <a:effectLst/>
                <a:latin typeface="Calibri Light" panose="020F0302020204030204" pitchFamily="34" charset="0"/>
                <a:ea typeface="Calibri Light" panose="020F0302020204030204" pitchFamily="34" charset="0"/>
                <a:cs typeface="Times New Roman" panose="02020603050405020304" pitchFamily="18" charset="0"/>
              </a:rPr>
              <a:t>Standardiserte søknadsrapporter EU, NFR pr nå, men flere må utvikles (1 generell)</a:t>
            </a:r>
            <a:endParaRPr lang="nb-NO" sz="900">
              <a:effectLst/>
              <a:latin typeface="Calibri Light" panose="020F0302020204030204" pitchFamily="34" charset="0"/>
              <a:ea typeface="Calibri Light" panose="020F03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457200" algn="l"/>
              </a:tabLst>
            </a:pPr>
            <a:r>
              <a:rPr lang="nb-NO" sz="1000">
                <a:solidFill>
                  <a:srgbClr val="FF0000"/>
                </a:solidFill>
                <a:effectLst/>
                <a:latin typeface="Calibri Light" panose="020F0302020204030204" pitchFamily="34" charset="0"/>
                <a:ea typeface="Calibri Light" panose="020F0302020204030204" pitchFamily="34" charset="0"/>
                <a:cs typeface="Times New Roman" panose="02020603050405020304" pitchFamily="18" charset="0"/>
              </a:rPr>
              <a:t>Felles løsning på universitetet og i sektoren</a:t>
            </a:r>
            <a:endParaRPr lang="nb-NO" sz="900">
              <a:effectLst/>
              <a:latin typeface="Calibri Light" panose="020F0302020204030204" pitchFamily="34" charset="0"/>
              <a:ea typeface="Calibri Light" panose="020F03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457200" algn="l"/>
              </a:tabLst>
            </a:pPr>
            <a:r>
              <a:rPr lang="nb-NO" sz="1000">
                <a:solidFill>
                  <a:srgbClr val="FF0000"/>
                </a:solidFill>
                <a:effectLst/>
                <a:latin typeface="Calibri Light" panose="020F0302020204030204" pitchFamily="34" charset="0"/>
                <a:ea typeface="Calibri Light" panose="020F0302020204030204" pitchFamily="34" charset="0"/>
                <a:cs typeface="Times New Roman" panose="02020603050405020304" pitchFamily="18" charset="0"/>
              </a:rPr>
              <a:t>Standardiserte søknadsmaler (finansieringsregler)</a:t>
            </a:r>
            <a:endParaRPr lang="nb-NO" sz="900">
              <a:effectLst/>
              <a:latin typeface="Calibri Light" panose="020F0302020204030204" pitchFamily="34" charset="0"/>
              <a:ea typeface="Calibri Light" panose="020F03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457200" algn="l"/>
              </a:tabLst>
            </a:pPr>
            <a:r>
              <a:rPr lang="nb-NO" sz="1000">
                <a:solidFill>
                  <a:srgbClr val="FF0000"/>
                </a:solidFill>
                <a:effectLst/>
                <a:latin typeface="Calibri Light" panose="020F0302020204030204" pitchFamily="34" charset="0"/>
                <a:ea typeface="Calibri Light" panose="020F0302020204030204" pitchFamily="34" charset="0"/>
                <a:cs typeface="Times New Roman" panose="02020603050405020304" pitchFamily="18" charset="0"/>
              </a:rPr>
              <a:t>Ledelsesinformasjon (hvem søker, hvor mye, hvor stor er tilslagsprosenten, hvilke </a:t>
            </a:r>
            <a:r>
              <a:rPr lang="nb-NO" sz="1000" err="1">
                <a:solidFill>
                  <a:srgbClr val="FF0000"/>
                </a:solidFill>
                <a:effectLst/>
                <a:latin typeface="Calibri Light" panose="020F0302020204030204" pitchFamily="34" charset="0"/>
                <a:ea typeface="Calibri Light" panose="020F0302020204030204" pitchFamily="34" charset="0"/>
                <a:cs typeface="Times New Roman" panose="02020603050405020304" pitchFamily="18" charset="0"/>
              </a:rPr>
              <a:t>finansiører</a:t>
            </a:r>
            <a:r>
              <a:rPr lang="nb-NO" sz="1000">
                <a:solidFill>
                  <a:srgbClr val="FF0000"/>
                </a:solidFill>
                <a:effectLst/>
                <a:latin typeface="Calibri Light" panose="020F0302020204030204" pitchFamily="34" charset="0"/>
                <a:ea typeface="Calibri Light" panose="020F0302020204030204" pitchFamily="34" charset="0"/>
                <a:cs typeface="Times New Roman" panose="02020603050405020304" pitchFamily="18" charset="0"/>
              </a:rPr>
              <a:t>, hvem samarbeider vi med, hvem er vi partnere med, er vi koordinator eller partner, hvor mye skal videreformidles/gjennomstrømmes)</a:t>
            </a:r>
            <a:endParaRPr lang="nb-NO" sz="900">
              <a:effectLst/>
              <a:latin typeface="Calibri Light" panose="020F0302020204030204" pitchFamily="34" charset="0"/>
              <a:ea typeface="Calibri Light" panose="020F03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457200" algn="l"/>
              </a:tabLst>
            </a:pPr>
            <a:r>
              <a:rPr lang="nb-NO" sz="1000">
                <a:solidFill>
                  <a:srgbClr val="FF0000"/>
                </a:solidFill>
                <a:effectLst/>
                <a:latin typeface="Calibri Light" panose="020F0302020204030204" pitchFamily="34" charset="0"/>
                <a:ea typeface="Calibri Light" panose="020F0302020204030204" pitchFamily="34" charset="0"/>
                <a:cs typeface="Times New Roman" panose="02020603050405020304" pitchFamily="18" charset="0"/>
              </a:rPr>
              <a:t>Gir informasjon om fremtidig boa-</a:t>
            </a:r>
            <a:r>
              <a:rPr lang="nb-NO" sz="1000" err="1">
                <a:solidFill>
                  <a:srgbClr val="FF0000"/>
                </a:solidFill>
                <a:effectLst/>
                <a:latin typeface="Calibri Light" panose="020F0302020204030204" pitchFamily="34" charset="0"/>
                <a:ea typeface="Calibri Light" panose="020F0302020204030204" pitchFamily="34" charset="0"/>
                <a:cs typeface="Times New Roman" panose="02020603050405020304" pitchFamily="18" charset="0"/>
              </a:rPr>
              <a:t>aktivitetet</a:t>
            </a:r>
            <a:r>
              <a:rPr lang="nb-NO" sz="1000">
                <a:solidFill>
                  <a:srgbClr val="FF0000"/>
                </a:solidFill>
                <a:effectLst/>
                <a:latin typeface="Calibri Light" panose="020F0302020204030204" pitchFamily="34" charset="0"/>
                <a:ea typeface="Calibri Light" panose="020F0302020204030204" pitchFamily="34" charset="0"/>
                <a:cs typeface="Times New Roman" panose="02020603050405020304" pitchFamily="18" charset="0"/>
              </a:rPr>
              <a:t>, hva er i pipeline?  Bedre prognoser og langtidsbudsjetter.</a:t>
            </a:r>
            <a:endParaRPr lang="nb-NO" sz="900">
              <a:effectLst/>
              <a:latin typeface="Calibri Light" panose="020F0302020204030204" pitchFamily="34" charset="0"/>
              <a:ea typeface="Calibri Light" panose="020F03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457200" algn="l"/>
              </a:tabLst>
            </a:pPr>
            <a:r>
              <a:rPr lang="nb-NO" sz="1000">
                <a:solidFill>
                  <a:srgbClr val="FF0000"/>
                </a:solidFill>
                <a:effectLst/>
                <a:latin typeface="Calibri Light" panose="020F0302020204030204" pitchFamily="34" charset="0"/>
                <a:ea typeface="Calibri Light" panose="020F0302020204030204" pitchFamily="34" charset="0"/>
                <a:cs typeface="Times New Roman" panose="02020603050405020304" pitchFamily="18" charset="0"/>
              </a:rPr>
              <a:t>Transparent løsning. Full oversikt over alle søknadene pr institutt, fakultet, institusjon</a:t>
            </a:r>
            <a:endParaRPr lang="nb-NO" sz="900">
              <a:effectLst/>
              <a:latin typeface="Calibri Light" panose="020F0302020204030204" pitchFamily="34" charset="0"/>
              <a:ea typeface="Calibri Light" panose="020F0302020204030204" pitchFamily="34" charset="0"/>
              <a:cs typeface="Times New Roman" panose="02020603050405020304" pitchFamily="18" charset="0"/>
            </a:endParaRPr>
          </a:p>
          <a:p>
            <a:pPr marL="742950" lvl="1" indent="-285750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914400" algn="l"/>
              </a:tabLst>
            </a:pPr>
            <a:r>
              <a:rPr lang="nb-NO" sz="1000">
                <a:solidFill>
                  <a:srgbClr val="FF0000"/>
                </a:solidFill>
                <a:effectLst/>
                <a:latin typeface="Calibri Light" panose="020F0302020204030204" pitchFamily="34" charset="0"/>
                <a:ea typeface="Calibri Light" panose="020F0302020204030204" pitchFamily="34" charset="0"/>
                <a:cs typeface="Times New Roman" panose="02020603050405020304" pitchFamily="18" charset="0"/>
              </a:rPr>
              <a:t>Kanskje enklere å slå ned på surprisekontrakter som er inngått av enkeltforskere/ledelse uten forankring?</a:t>
            </a:r>
            <a:endParaRPr lang="nb-NO" sz="900">
              <a:effectLst/>
              <a:latin typeface="Calibri Light" panose="020F0302020204030204" pitchFamily="34" charset="0"/>
              <a:ea typeface="Calibri Light" panose="020F0302020204030204" pitchFamily="34" charset="0"/>
              <a:cs typeface="Times New Roman" panose="02020603050405020304" pitchFamily="18" charset="0"/>
            </a:endParaRPr>
          </a:p>
          <a:p>
            <a:pPr marL="742950" lvl="1" indent="-285750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914400" algn="l"/>
              </a:tabLst>
            </a:pPr>
            <a:r>
              <a:rPr lang="nb-NO" sz="1000">
                <a:solidFill>
                  <a:srgbClr val="FF0000"/>
                </a:solidFill>
                <a:effectLst/>
                <a:latin typeface="Calibri Light" panose="020F0302020204030204" pitchFamily="34" charset="0"/>
                <a:ea typeface="Calibri Light" panose="020F0302020204030204" pitchFamily="34" charset="0"/>
                <a:cs typeface="Times New Roman" panose="02020603050405020304" pitchFamily="18" charset="0"/>
              </a:rPr>
              <a:t>Flere roller har tilgang til alle søknadene på instituttet og statusen på dem </a:t>
            </a:r>
            <a:endParaRPr lang="nb-NO" sz="900">
              <a:effectLst/>
              <a:latin typeface="Calibri Light" panose="020F0302020204030204" pitchFamily="34" charset="0"/>
              <a:ea typeface="Calibri Light" panose="020F03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457200" algn="l"/>
              </a:tabLst>
            </a:pPr>
            <a:r>
              <a:rPr lang="nb-NO" sz="1000">
                <a:solidFill>
                  <a:srgbClr val="FF0000"/>
                </a:solidFill>
                <a:effectLst/>
                <a:latin typeface="Calibri Light" panose="020F0302020204030204" pitchFamily="34" charset="0"/>
                <a:ea typeface="Calibri Light" panose="020F0302020204030204" pitchFamily="34" charset="0"/>
                <a:cs typeface="Times New Roman" panose="02020603050405020304" pitchFamily="18" charset="0"/>
              </a:rPr>
              <a:t>Alle søknader registrert på 1 felles sted, går på arbeidsflyt inkludert godkjenning av søknad, bindinger av ressurser (menneskelige og utstyr). </a:t>
            </a:r>
            <a:endParaRPr lang="nb-NO" sz="900">
              <a:effectLst/>
              <a:latin typeface="Calibri Light" panose="020F0302020204030204" pitchFamily="34" charset="0"/>
              <a:ea typeface="Calibri Light" panose="020F03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457200" algn="l"/>
              </a:tabLst>
            </a:pPr>
            <a:r>
              <a:rPr lang="nb-NO" sz="1000">
                <a:solidFill>
                  <a:srgbClr val="FF0000"/>
                </a:solidFill>
                <a:effectLst/>
                <a:latin typeface="Calibri Light" panose="020F0302020204030204" pitchFamily="34" charset="0"/>
                <a:ea typeface="Calibri Light" panose="020F0302020204030204" pitchFamily="34" charset="0"/>
                <a:cs typeface="Times New Roman" panose="02020603050405020304" pitchFamily="18" charset="0"/>
              </a:rPr>
              <a:t>Får oversikt v godkjenning over hvordan bindinger i søknaden direkte påvirker instituttøkonomien</a:t>
            </a:r>
            <a:endParaRPr lang="nb-NO" sz="900">
              <a:effectLst/>
              <a:latin typeface="Calibri Light" panose="020F0302020204030204" pitchFamily="34" charset="0"/>
              <a:ea typeface="Calibri Light" panose="020F03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ts val="1200"/>
              </a:lnSpc>
              <a:buFont typeface="Calibri" panose="020F0502020204030204" pitchFamily="34" charset="0"/>
              <a:buChar char="-"/>
              <a:tabLst>
                <a:tab pos="457200" algn="l"/>
              </a:tabLst>
            </a:pPr>
            <a:r>
              <a:rPr lang="nb-NO" sz="1000">
                <a:solidFill>
                  <a:srgbClr val="FF0000"/>
                </a:solidFill>
                <a:effectLst/>
                <a:latin typeface="Calibri Light" panose="020F0302020204030204" pitchFamily="34" charset="0"/>
                <a:ea typeface="Calibri Light" panose="020F0302020204030204" pitchFamily="34" charset="0"/>
                <a:cs typeface="Times New Roman" panose="02020603050405020304" pitchFamily="18" charset="0"/>
              </a:rPr>
              <a:t>Etterlevelse av BOA-reglement (habilitet, faglig forankring, oversikt over alle søknader, godkjenning av instituttet av alle søknader i </a:t>
            </a:r>
            <a:r>
              <a:rPr lang="nb-NO" sz="1000" err="1">
                <a:solidFill>
                  <a:srgbClr val="FF0000"/>
                </a:solidFill>
                <a:effectLst/>
                <a:latin typeface="Calibri Light" panose="020F0302020204030204" pitchFamily="34" charset="0"/>
                <a:ea typeface="Calibri Light" panose="020F0302020204030204" pitchFamily="34" charset="0"/>
                <a:cs typeface="Times New Roman" panose="02020603050405020304" pitchFamily="18" charset="0"/>
              </a:rPr>
              <a:t>fht</a:t>
            </a:r>
            <a:r>
              <a:rPr lang="nb-NO" sz="1000">
                <a:solidFill>
                  <a:srgbClr val="FF0000"/>
                </a:solidFill>
                <a:effectLst/>
                <a:latin typeface="Calibri Light" panose="020F0302020204030204" pitchFamily="34" charset="0"/>
                <a:ea typeface="Calibri Light" panose="020F0302020204030204" pitchFamily="34" charset="0"/>
                <a:cs typeface="Times New Roman" panose="02020603050405020304" pitchFamily="18" charset="0"/>
              </a:rPr>
              <a:t> bindinger i.e.)</a:t>
            </a:r>
            <a:endParaRPr lang="nb-NO" sz="900">
              <a:effectLst/>
              <a:latin typeface="Calibri Light" panose="020F0302020204030204" pitchFamily="34" charset="0"/>
              <a:ea typeface="Calibri Light" panose="020F03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E2E074-5176-4753-9A9B-4C8257B90D1B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21961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 fontAlgn="base">
              <a:buFont typeface="Arial" panose="020B0604020202020204" pitchFamily="34" charset="0"/>
              <a:buNone/>
            </a:pPr>
            <a:endParaRPr lang="nb-NO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F8A2AF7-2D85-4421-9B02-2B5F9CC37447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63092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1"/>
            <a:ext cx="7772400" cy="67582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0001595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7492314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838506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489354" y="205979"/>
            <a:ext cx="1254211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5844746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318319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98339"/>
            <a:ext cx="7615382" cy="648512"/>
          </a:xfrm>
          <a:prstGeom prst="rect">
            <a:avLst/>
          </a:prstGeom>
        </p:spPr>
        <p:txBody>
          <a:bodyPr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57200" y="1021492"/>
            <a:ext cx="8229600" cy="3794443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600198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431581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9824604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3729142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F029CD80-4653-1D40-8828-D130A1CE83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79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A2198496-915B-0544-B4C5-2520C5B26EF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19" y="1444342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7EDE4B5C-3CB2-3941-8546-1481B2148F3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5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0E4E6626-5F8B-9E4F-A2AA-C9120194290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5" y="1444342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1D073737-7B80-A24C-AB05-449F502783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8" y="964521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7022366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1722496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97185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5964862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5322368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57200" y="307575"/>
            <a:ext cx="7643091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096834"/>
            <a:ext cx="8229600" cy="36582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5" name="Bilde 4" descr="sirkler.jpg"/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451"/>
          <a:stretch/>
        </p:blipFill>
        <p:spPr>
          <a:xfrm>
            <a:off x="7993703" y="379170"/>
            <a:ext cx="1151994" cy="1148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7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forskningsradet.no/utlysninger/2023/forskerprosjekt-erfarne-forskere-fripro/" TargetMode="Externa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i.ntnu.no/wiki/-/wiki/Norsk/NTNU+%C3%B8konomi+og+l%C3%B8nn+forvaltning" TargetMode="External"/><Relationship Id="rId2" Type="http://schemas.openxmlformats.org/officeDocument/2006/relationships/hyperlink" Target="https://universityofbergen.sharepoint.com/:b:/s/KvalitetsrammeverkokonomioglonnBOTT/ETLXaUyMQNtIgXwGHWP2qOgBprGSDkvxNAExlBSZOv2B4Q?e=xfzt8X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mitt.uib.no/enroll/AYB697" TargetMode="External"/><Relationship Id="rId5" Type="http://schemas.openxmlformats.org/officeDocument/2006/relationships/hyperlink" Target="https://universityofbergen.sharepoint.com/:b:/s/KvalitetsrammeverkokonomioglonnBOTT/EcUhbR7Xvz1Eg8Oo10nTMvwBwCam7BCUdnLsCSMdPa-XoA?e=bRHHct" TargetMode="External"/><Relationship Id="rId4" Type="http://schemas.openxmlformats.org/officeDocument/2006/relationships/hyperlink" Target="https://dfo.no/sites/default/files/2023-05/Brukerdokumentasjon_Prosjekt%C3%B8konomi%20-%20S%C3%B8ke%20finansiering%20og%20forhandle%20avtale%20versjon%201.0.pdf" TargetMode="Externa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svg"/><Relationship Id="rId18" Type="http://schemas.openxmlformats.org/officeDocument/2006/relationships/image" Target="../media/image17.png"/><Relationship Id="rId3" Type="http://schemas.openxmlformats.org/officeDocument/2006/relationships/notesSlide" Target="../notesSlides/notesSlide1.xml"/><Relationship Id="rId21" Type="http://schemas.openxmlformats.org/officeDocument/2006/relationships/image" Target="../media/image20.svg"/><Relationship Id="rId7" Type="http://schemas.openxmlformats.org/officeDocument/2006/relationships/image" Target="../media/image6.svg"/><Relationship Id="rId12" Type="http://schemas.openxmlformats.org/officeDocument/2006/relationships/image" Target="../media/image11.png"/><Relationship Id="rId17" Type="http://schemas.openxmlformats.org/officeDocument/2006/relationships/image" Target="../media/image16.svg"/><Relationship Id="rId2" Type="http://schemas.openxmlformats.org/officeDocument/2006/relationships/slideLayout" Target="../slideLayouts/slideLayout6.xml"/><Relationship Id="rId16" Type="http://schemas.openxmlformats.org/officeDocument/2006/relationships/image" Target="../media/image15.png"/><Relationship Id="rId20" Type="http://schemas.openxmlformats.org/officeDocument/2006/relationships/image" Target="../media/image19.png"/><Relationship Id="rId1" Type="http://schemas.openxmlformats.org/officeDocument/2006/relationships/tags" Target="../tags/tag1.xml"/><Relationship Id="rId6" Type="http://schemas.openxmlformats.org/officeDocument/2006/relationships/image" Target="../media/image5.png"/><Relationship Id="rId11" Type="http://schemas.openxmlformats.org/officeDocument/2006/relationships/image" Target="../media/image10.svg"/><Relationship Id="rId5" Type="http://schemas.openxmlformats.org/officeDocument/2006/relationships/image" Target="../media/image4.emf"/><Relationship Id="rId15" Type="http://schemas.openxmlformats.org/officeDocument/2006/relationships/image" Target="../media/image14.svg"/><Relationship Id="rId10" Type="http://schemas.openxmlformats.org/officeDocument/2006/relationships/image" Target="../media/image9.png"/><Relationship Id="rId19" Type="http://schemas.openxmlformats.org/officeDocument/2006/relationships/image" Target="../media/image18.svg"/><Relationship Id="rId4" Type="http://schemas.openxmlformats.org/officeDocument/2006/relationships/oleObject" Target="../embeddings/oleObject1.bin"/><Relationship Id="rId9" Type="http://schemas.openxmlformats.org/officeDocument/2006/relationships/image" Target="../media/image8.svg"/><Relationship Id="rId1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hyperlink" Target="https://studntnu.sharepoint.com/:l:/s/o365_ProjectInitiationList/FLgW_2JKJapGmM2TWTgW9DwBCrwegpOF9duk5hO0jwnoyA?email=jannike.v.kvendset%40ntnu.no&amp;e=lN04BV" TargetMode="Externa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17126" y="1878912"/>
            <a:ext cx="7772400" cy="1754326"/>
          </a:xfrm>
        </p:spPr>
        <p:txBody>
          <a:bodyPr/>
          <a:lstStyle/>
          <a:p>
            <a:r>
              <a:rPr lang="nb-NO" dirty="0"/>
              <a:t>Fagkafé og spørretime i Prosjektsøknads-modulen i Unit4: For </a:t>
            </a:r>
            <a:r>
              <a:rPr lang="nb-NO" dirty="0" err="1"/>
              <a:t>Søknadsregistrerere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6192630" y="4151654"/>
            <a:ext cx="2479853" cy="819447"/>
          </a:xfrm>
        </p:spPr>
        <p:txBody>
          <a:bodyPr>
            <a:normAutofit/>
          </a:bodyPr>
          <a:lstStyle/>
          <a:p>
            <a:r>
              <a:rPr lang="nb-NO"/>
              <a:t>Desember 2024</a:t>
            </a:r>
          </a:p>
        </p:txBody>
      </p:sp>
      <p:grpSp>
        <p:nvGrpSpPr>
          <p:cNvPr id="13" name="Gruppe 12"/>
          <p:cNvGrpSpPr/>
          <p:nvPr/>
        </p:nvGrpSpPr>
        <p:grpSpPr>
          <a:xfrm>
            <a:off x="6517094" y="359678"/>
            <a:ext cx="2155389" cy="1751325"/>
            <a:chOff x="6429510" y="337780"/>
            <a:chExt cx="2155389" cy="1751325"/>
          </a:xfrm>
        </p:grpSpPr>
        <p:sp>
          <p:nvSpPr>
            <p:cNvPr id="17" name="Ellipse 16"/>
            <p:cNvSpPr/>
            <p:nvPr/>
          </p:nvSpPr>
          <p:spPr>
            <a:xfrm>
              <a:off x="7596009" y="337780"/>
              <a:ext cx="988890" cy="988890"/>
            </a:xfrm>
            <a:prstGeom prst="ellipse">
              <a:avLst/>
            </a:prstGeom>
            <a:solidFill>
              <a:srgbClr val="0D3475">
                <a:alpha val="6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8" name="Ellipse 17"/>
            <p:cNvSpPr/>
            <p:nvPr/>
          </p:nvSpPr>
          <p:spPr>
            <a:xfrm>
              <a:off x="6815720" y="641606"/>
              <a:ext cx="475240" cy="475240"/>
            </a:xfrm>
            <a:prstGeom prst="ellipse">
              <a:avLst/>
            </a:prstGeom>
            <a:solidFill>
              <a:srgbClr val="0D347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9" name="Ellipse 18"/>
            <p:cNvSpPr/>
            <p:nvPr/>
          </p:nvSpPr>
          <p:spPr>
            <a:xfrm>
              <a:off x="6995176" y="1326670"/>
              <a:ext cx="762435" cy="762435"/>
            </a:xfrm>
            <a:prstGeom prst="ellipse">
              <a:avLst/>
            </a:prstGeom>
            <a:solidFill>
              <a:srgbClr val="BBAC7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0" name="Ellipse 19"/>
            <p:cNvSpPr/>
            <p:nvPr/>
          </p:nvSpPr>
          <p:spPr>
            <a:xfrm>
              <a:off x="6429510" y="1339986"/>
              <a:ext cx="218266" cy="218266"/>
            </a:xfrm>
            <a:prstGeom prst="ellipse">
              <a:avLst/>
            </a:prstGeom>
            <a:solidFill>
              <a:srgbClr val="BBAC76">
                <a:alpha val="6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</p:grpSp>
      <p:pic>
        <p:nvPicPr>
          <p:cNvPr id="15" name="Bilde 14">
            <a:extLst>
              <a:ext uri="{FF2B5EF4-FFF2-40B4-BE49-F238E27FC236}">
                <a16:creationId xmlns:a16="http://schemas.microsoft.com/office/drawing/2014/main" id="{8FA13D59-2894-5240-81B4-A3D7DAE8F5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679" y="625995"/>
            <a:ext cx="3214264" cy="829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31020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CF6E741-FD8D-554E-F9C4-E366F8F7BB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98339"/>
            <a:ext cx="7615382" cy="648512"/>
          </a:xfrm>
        </p:spPr>
        <p:txBody>
          <a:bodyPr/>
          <a:lstStyle/>
          <a:p>
            <a:r>
              <a:rPr lang="nb-NO" dirty="0"/>
              <a:t>Case – Søknadsregistrering </a:t>
            </a:r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C338B87B-FD7B-C8B4-EC83-F9929247C6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021492"/>
            <a:ext cx="8229600" cy="3794443"/>
          </a:xfrm>
        </p:spPr>
        <p:txBody>
          <a:bodyPr/>
          <a:lstStyle/>
          <a:p>
            <a:r>
              <a:rPr lang="nb-NO" dirty="0"/>
              <a:t>Utlysning:	</a:t>
            </a:r>
            <a:r>
              <a:rPr lang="nb-NO" dirty="0">
                <a:hlinkClick r:id="rId2"/>
              </a:rPr>
              <a:t>FRIPRO for erfarne forskere</a:t>
            </a:r>
            <a:endParaRPr lang="nb-NO" dirty="0"/>
          </a:p>
          <a:p>
            <a:r>
              <a:rPr lang="nb-NO" dirty="0"/>
              <a:t>Se egen epost fra Terje Ruud</a:t>
            </a:r>
          </a:p>
        </p:txBody>
      </p:sp>
    </p:spTree>
    <p:extLst>
      <p:ext uri="{BB962C8B-B14F-4D97-AF65-F5344CB8AC3E}">
        <p14:creationId xmlns:p14="http://schemas.microsoft.com/office/powerpoint/2010/main" val="12142139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1775E8-BCCF-0AB3-54C2-D8226110CE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Generelle tips til bruk av Unit4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D1A35F-BE47-FD5B-2421-51B3994AEA5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8" y="798105"/>
            <a:ext cx="8418747" cy="3981286"/>
          </a:xfrm>
        </p:spPr>
        <p:txBody>
          <a:bodyPr/>
          <a:lstStyle/>
          <a:p>
            <a:r>
              <a:rPr lang="nb-NO" sz="1500"/>
              <a:t>Sørg for å ha alle relevante data klare før du starter arbeidet</a:t>
            </a:r>
          </a:p>
          <a:p>
            <a:pPr lvl="1"/>
            <a:r>
              <a:rPr lang="nb-NO" sz="1350"/>
              <a:t>Ved prosjektopprettelse er det </a:t>
            </a:r>
            <a:r>
              <a:rPr lang="nb-NO" sz="1350" u="sng"/>
              <a:t>ingen mulighet til å mellomlagre</a:t>
            </a:r>
            <a:r>
              <a:rPr lang="nb-NO" sz="1350"/>
              <a:t> registrerte data før alle obligatoriske felt er fylt ut</a:t>
            </a:r>
          </a:p>
          <a:p>
            <a:r>
              <a:rPr lang="nb-NO" sz="1500"/>
              <a:t>«Space» gir deg mulighet til å få opp informasjon i lister som er aktuelle valg for det feltet du står i</a:t>
            </a:r>
          </a:p>
          <a:p>
            <a:pPr lvl="1"/>
            <a:r>
              <a:rPr lang="nb-NO" sz="1350"/>
              <a:t>Oftest fungerer også «Type-</a:t>
            </a:r>
            <a:r>
              <a:rPr lang="nb-NO" sz="1350" err="1"/>
              <a:t>ahead</a:t>
            </a:r>
            <a:r>
              <a:rPr lang="nb-NO" sz="1350"/>
              <a:t>», slik at dersom du begynner å skrive tekst som du vet er inkludert i det du skal velge vil du få en mer begrenset/målrettet liste</a:t>
            </a:r>
          </a:p>
          <a:p>
            <a:r>
              <a:rPr lang="nb-NO" sz="1500"/>
              <a:t>«Tab»-tasten er måten å få informasjon registrert i et felt (ikke «Enter»)</a:t>
            </a:r>
          </a:p>
          <a:p>
            <a:r>
              <a:rPr lang="nb-NO" sz="1500"/>
              <a:t>For å manøvrere deg mellom fanene i veiviseren bruk knappene «Neste side» og «Forrige side» </a:t>
            </a:r>
          </a:p>
          <a:p>
            <a:pPr lvl="1"/>
            <a:r>
              <a:rPr lang="nb-NO" sz="1350"/>
              <a:t>Du kan ikke bevege deg mellom dem ved å trykke på fanene</a:t>
            </a:r>
          </a:p>
          <a:p>
            <a:pPr lvl="1"/>
            <a:r>
              <a:rPr lang="nb-NO" sz="1350" u="sng"/>
              <a:t>Advarsel:</a:t>
            </a:r>
            <a:r>
              <a:rPr lang="nb-NO" sz="1350"/>
              <a:t> Noen steder vil «Forrige side» ikke fungere og du kan bli nødt til å starte på nytt</a:t>
            </a:r>
          </a:p>
          <a:p>
            <a:r>
              <a:rPr lang="nb-NO" sz="1500"/>
              <a:t>Normale nettlesermuligheter som «Tilbake» (pil tilbake) eller «Oppfrisk» fungerer ikke</a:t>
            </a:r>
          </a:p>
          <a:p>
            <a:pPr lvl="1"/>
            <a:r>
              <a:rPr lang="nb-NO" sz="1350"/>
              <a:t>Du vil ved å bruke disse bli nødt til å starte registreringen på nytt</a:t>
            </a:r>
          </a:p>
        </p:txBody>
      </p:sp>
    </p:spTree>
    <p:extLst>
      <p:ext uri="{BB962C8B-B14F-4D97-AF65-F5344CB8AC3E}">
        <p14:creationId xmlns:p14="http://schemas.microsoft.com/office/powerpoint/2010/main" val="9180180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2D6169-1DF6-0826-F14F-D23ABB0687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98339"/>
            <a:ext cx="7615382" cy="648512"/>
          </a:xfrm>
        </p:spPr>
        <p:txBody>
          <a:bodyPr/>
          <a:lstStyle/>
          <a:p>
            <a:r>
              <a:rPr lang="nb-NO"/>
              <a:t>Hvor finner du mer inf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7CF175-D66C-6D74-29FE-D9C64C3E9F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021492"/>
            <a:ext cx="8229600" cy="3794443"/>
          </a:xfrm>
        </p:spPr>
        <p:txBody>
          <a:bodyPr vert="horz" lIns="67500" tIns="35100" rIns="67500" bIns="35100" rtlCol="0" anchor="t">
            <a:noAutofit/>
          </a:bodyPr>
          <a:lstStyle/>
          <a:p>
            <a:r>
              <a:rPr lang="nb-NO"/>
              <a:t>Kort veileder: </a:t>
            </a:r>
            <a:r>
              <a:rPr lang="nb-NO">
                <a:hlinkClick r:id="rId2"/>
              </a:rPr>
              <a:t>Enkel veileder - </a:t>
            </a:r>
            <a:r>
              <a:rPr lang="nb-NO" err="1">
                <a:hlinkClick r:id="rId2"/>
              </a:rPr>
              <a:t>Søknadsregistrerer</a:t>
            </a:r>
            <a:r>
              <a:rPr lang="nb-NO">
                <a:hlinkClick r:id="rId2"/>
              </a:rPr>
              <a:t> (prosjektsøknadsmodulen</a:t>
            </a:r>
            <a:r>
              <a:rPr lang="nb-NO"/>
              <a:t>)</a:t>
            </a:r>
          </a:p>
          <a:p>
            <a:r>
              <a:rPr lang="nb-NO"/>
              <a:t>NTNU Wiki: </a:t>
            </a:r>
            <a:r>
              <a:rPr lang="nb-NO">
                <a:hlinkClick r:id="rId3"/>
              </a:rPr>
              <a:t>NTNU økonomi og lønn forvaltning - Kunnskapsbasen - NTNU</a:t>
            </a:r>
            <a:endParaRPr lang="en-US"/>
          </a:p>
          <a:p>
            <a:pPr lvl="1"/>
            <a:r>
              <a:rPr lang="nb-NO"/>
              <a:t>Veiledere</a:t>
            </a:r>
            <a:endParaRPr lang="en-US"/>
          </a:p>
          <a:p>
            <a:pPr lvl="1"/>
            <a:r>
              <a:rPr lang="nb-NO"/>
              <a:t>Informasjon om videre opplæring</a:t>
            </a:r>
            <a:endParaRPr lang="en-US"/>
          </a:p>
          <a:p>
            <a:r>
              <a:rPr lang="nb-NO"/>
              <a:t>DFØ brukerveiledning om </a:t>
            </a:r>
            <a:r>
              <a:rPr lang="nb-NO">
                <a:hlinkClick r:id="rId4"/>
              </a:rPr>
              <a:t>Søke finansiering og forhandle avtale</a:t>
            </a:r>
            <a:endParaRPr lang="nb-NO"/>
          </a:p>
          <a:p>
            <a:r>
              <a:rPr lang="nb-NO"/>
              <a:t>BOTT rutine – </a:t>
            </a:r>
            <a:r>
              <a:rPr lang="nb-NO">
                <a:hlinkClick r:id="rId5"/>
              </a:rPr>
              <a:t>Søke finansiering</a:t>
            </a:r>
            <a:endParaRPr lang="nb-NO"/>
          </a:p>
          <a:p>
            <a:r>
              <a:rPr lang="nb-NO"/>
              <a:t>BOTT E-læringskurs om </a:t>
            </a:r>
            <a:r>
              <a:rPr lang="nb-NO">
                <a:hlinkClick r:id="rId6"/>
              </a:rPr>
              <a:t>rollen </a:t>
            </a:r>
            <a:r>
              <a:rPr lang="nb-NO" err="1">
                <a:hlinkClick r:id="rId6"/>
              </a:rPr>
              <a:t>Søknadsregistrerer</a:t>
            </a:r>
            <a:endParaRPr lang="nb-NO"/>
          </a:p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564588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olorful bowl of candies">
            <a:extLst>
              <a:ext uri="{FF2B5EF4-FFF2-40B4-BE49-F238E27FC236}">
                <a16:creationId xmlns:a16="http://schemas.microsoft.com/office/drawing/2014/main" id="{F437E4B1-A3C7-29E3-5D9C-2D3D7D7EB5F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3994" b="20782"/>
          <a:stretch/>
        </p:blipFill>
        <p:spPr>
          <a:xfrm>
            <a:off x="-1536317" y="-136572"/>
            <a:ext cx="10680317" cy="5416643"/>
          </a:xfrm>
          <a:prstGeom prst="rect">
            <a:avLst/>
          </a:prstGeom>
          <a:noFill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66DEBCE-FA23-1B21-D1B3-27155F6455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0407" y="3600729"/>
            <a:ext cx="3483593" cy="2202166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t">
            <a:normAutofit/>
          </a:bodyPr>
          <a:lstStyle/>
          <a:p>
            <a:r>
              <a:rPr lang="nb-NO" sz="4050">
                <a:solidFill>
                  <a:schemeClr val="bg1"/>
                </a:solidFill>
              </a:rPr>
              <a:t>Takk for </a:t>
            </a:r>
            <a:br>
              <a:rPr lang="nb-NO" sz="4050">
                <a:solidFill>
                  <a:schemeClr val="bg1"/>
                </a:solidFill>
              </a:rPr>
            </a:br>
            <a:r>
              <a:rPr lang="nb-NO" sz="4050">
                <a:solidFill>
                  <a:schemeClr val="bg1"/>
                </a:solidFill>
              </a:rPr>
              <a:t>deltakelsen!</a:t>
            </a:r>
          </a:p>
        </p:txBody>
      </p:sp>
    </p:spTree>
    <p:extLst>
      <p:ext uri="{BB962C8B-B14F-4D97-AF65-F5344CB8AC3E}">
        <p14:creationId xmlns:p14="http://schemas.microsoft.com/office/powerpoint/2010/main" val="38584064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E7B472-9CA8-EEEB-2F74-3C4A39277D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0B7F8F4-DF18-F5B8-8260-FAB5C8FEDFA6}"/>
              </a:ext>
            </a:extLst>
          </p:cNvPr>
          <p:cNvGrpSpPr/>
          <p:nvPr/>
        </p:nvGrpSpPr>
        <p:grpSpPr>
          <a:xfrm>
            <a:off x="515366" y="1248831"/>
            <a:ext cx="6879419" cy="2866618"/>
            <a:chOff x="838200" y="1989363"/>
            <a:chExt cx="9172559" cy="2948397"/>
          </a:xfrm>
        </p:grpSpPr>
        <p:cxnSp>
          <p:nvCxnSpPr>
            <p:cNvPr id="4" name="Rett linje 13">
              <a:extLst>
                <a:ext uri="{FF2B5EF4-FFF2-40B4-BE49-F238E27FC236}">
                  <a16:creationId xmlns:a16="http://schemas.microsoft.com/office/drawing/2014/main" id="{4332209A-AC55-2E0B-857B-70F4EC9614B1}"/>
                </a:ext>
              </a:extLst>
            </p:cNvPr>
            <p:cNvCxnSpPr>
              <a:cxnSpLocks/>
            </p:cNvCxnSpPr>
            <p:nvPr/>
          </p:nvCxnSpPr>
          <p:spPr>
            <a:xfrm>
              <a:off x="1045369" y="1989363"/>
              <a:ext cx="0" cy="2948397"/>
            </a:xfrm>
            <a:prstGeom prst="line">
              <a:avLst/>
            </a:prstGeom>
            <a:ln w="38100">
              <a:solidFill>
                <a:srgbClr val="DCD5B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Ellipse 4">
              <a:extLst>
                <a:ext uri="{FF2B5EF4-FFF2-40B4-BE49-F238E27FC236}">
                  <a16:creationId xmlns:a16="http://schemas.microsoft.com/office/drawing/2014/main" id="{79F40D04-FA93-BEE9-69C0-6D4E9CD84881}"/>
                </a:ext>
              </a:extLst>
            </p:cNvPr>
            <p:cNvSpPr/>
            <p:nvPr/>
          </p:nvSpPr>
          <p:spPr>
            <a:xfrm>
              <a:off x="838200" y="2199680"/>
              <a:ext cx="414337" cy="338554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r>
                <a:rPr lang="nb-NO" sz="1200" b="1">
                  <a:solidFill>
                    <a:srgbClr val="0C4788"/>
                  </a:solidFill>
                  <a:latin typeface="Poppins" panose="00000500000000000000" pitchFamily="2" charset="0"/>
                  <a:cs typeface="Poppins" panose="00000500000000000000" pitchFamily="2" charset="0"/>
                </a:rPr>
                <a:t>1</a:t>
              </a:r>
            </a:p>
          </p:txBody>
        </p:sp>
        <p:sp>
          <p:nvSpPr>
            <p:cNvPr id="6" name="Ellipse 5">
              <a:extLst>
                <a:ext uri="{FF2B5EF4-FFF2-40B4-BE49-F238E27FC236}">
                  <a16:creationId xmlns:a16="http://schemas.microsoft.com/office/drawing/2014/main" id="{BE92B29D-BFE5-513B-D3E7-2020E861823B}"/>
                </a:ext>
              </a:extLst>
            </p:cNvPr>
            <p:cNvSpPr/>
            <p:nvPr/>
          </p:nvSpPr>
          <p:spPr>
            <a:xfrm>
              <a:off x="838200" y="2708672"/>
              <a:ext cx="414337" cy="338554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200" b="1">
                  <a:solidFill>
                    <a:srgbClr val="0C4788"/>
                  </a:solidFill>
                  <a:latin typeface="Poppins" panose="00000500000000000000" pitchFamily="2" charset="0"/>
                  <a:cs typeface="Poppins" panose="00000500000000000000" pitchFamily="2" charset="0"/>
                </a:rPr>
                <a:t>2</a:t>
              </a:r>
            </a:p>
          </p:txBody>
        </p:sp>
        <p:sp>
          <p:nvSpPr>
            <p:cNvPr id="7" name="Ellipse 6">
              <a:extLst>
                <a:ext uri="{FF2B5EF4-FFF2-40B4-BE49-F238E27FC236}">
                  <a16:creationId xmlns:a16="http://schemas.microsoft.com/office/drawing/2014/main" id="{0762CCF8-AAE4-0F30-0349-93EF514CBDC7}"/>
                </a:ext>
              </a:extLst>
            </p:cNvPr>
            <p:cNvSpPr/>
            <p:nvPr/>
          </p:nvSpPr>
          <p:spPr>
            <a:xfrm>
              <a:off x="838200" y="3217664"/>
              <a:ext cx="414337" cy="338554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200" b="1">
                  <a:solidFill>
                    <a:srgbClr val="0C4788"/>
                  </a:solidFill>
                  <a:latin typeface="Poppins" panose="00000500000000000000" pitchFamily="2" charset="0"/>
                  <a:cs typeface="Poppins" panose="00000500000000000000" pitchFamily="2" charset="0"/>
                </a:rPr>
                <a:t>3</a:t>
              </a:r>
            </a:p>
          </p:txBody>
        </p:sp>
        <p:sp>
          <p:nvSpPr>
            <p:cNvPr id="8" name="Ellipse 7">
              <a:extLst>
                <a:ext uri="{FF2B5EF4-FFF2-40B4-BE49-F238E27FC236}">
                  <a16:creationId xmlns:a16="http://schemas.microsoft.com/office/drawing/2014/main" id="{AC52CFC4-0987-21F8-BE24-728DAF6DF492}"/>
                </a:ext>
              </a:extLst>
            </p:cNvPr>
            <p:cNvSpPr/>
            <p:nvPr/>
          </p:nvSpPr>
          <p:spPr>
            <a:xfrm>
              <a:off x="838200" y="3726656"/>
              <a:ext cx="414337" cy="338554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r>
                <a:rPr lang="nb-NO" sz="1200" b="1">
                  <a:solidFill>
                    <a:srgbClr val="0C4788"/>
                  </a:solidFill>
                  <a:latin typeface="Poppins" panose="00000500000000000000" pitchFamily="2" charset="0"/>
                  <a:cs typeface="Poppins" panose="00000500000000000000" pitchFamily="2" charset="0"/>
                </a:rPr>
                <a:t>4</a:t>
              </a:r>
            </a:p>
          </p:txBody>
        </p:sp>
        <p:sp>
          <p:nvSpPr>
            <p:cNvPr id="9" name="TekstSylinder 17">
              <a:extLst>
                <a:ext uri="{FF2B5EF4-FFF2-40B4-BE49-F238E27FC236}">
                  <a16:creationId xmlns:a16="http://schemas.microsoft.com/office/drawing/2014/main" id="{B68F07AF-179C-9D47-A188-F35A6C680EE8}"/>
                </a:ext>
              </a:extLst>
            </p:cNvPr>
            <p:cNvSpPr txBox="1"/>
            <p:nvPr/>
          </p:nvSpPr>
          <p:spPr>
            <a:xfrm>
              <a:off x="1600189" y="2237572"/>
              <a:ext cx="8410570" cy="28490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685800">
                <a:defRPr/>
              </a:pPr>
              <a:r>
                <a:rPr lang="nb-NO" sz="1200" err="1">
                  <a:solidFill>
                    <a:prstClr val="black"/>
                  </a:solidFill>
                  <a:latin typeface="Poppins" panose="00000500000000000000" pitchFamily="2" charset="0"/>
                  <a:cs typeface="Poppins" panose="00000500000000000000" pitchFamily="2" charset="0"/>
                </a:rPr>
                <a:t>Velkommen</a:t>
              </a:r>
              <a:endParaRPr lang="nb-NO" sz="1200">
                <a:solidFill>
                  <a:prstClr val="black"/>
                </a:solidFill>
                <a:latin typeface="Poppins" panose="00000500000000000000" pitchFamily="2" charset="0"/>
                <a:cs typeface="Poppins" panose="00000500000000000000" pitchFamily="2" charset="0"/>
              </a:endParaRPr>
            </a:p>
          </p:txBody>
        </p:sp>
        <p:sp>
          <p:nvSpPr>
            <p:cNvPr id="10" name="TekstSylinder 21">
              <a:extLst>
                <a:ext uri="{FF2B5EF4-FFF2-40B4-BE49-F238E27FC236}">
                  <a16:creationId xmlns:a16="http://schemas.microsoft.com/office/drawing/2014/main" id="{509FC43F-010C-0E71-3876-17AB47B6DA00}"/>
                </a:ext>
              </a:extLst>
            </p:cNvPr>
            <p:cNvSpPr txBox="1"/>
            <p:nvPr/>
          </p:nvSpPr>
          <p:spPr>
            <a:xfrm>
              <a:off x="1600189" y="3248685"/>
              <a:ext cx="8410570" cy="28490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685800">
                <a:defRPr/>
              </a:pPr>
              <a:r>
                <a:rPr lang="nb-NO" sz="1200">
                  <a:solidFill>
                    <a:prstClr val="black"/>
                  </a:solidFill>
                  <a:latin typeface="Poppins" panose="00000500000000000000" pitchFamily="2" charset="0"/>
                  <a:cs typeface="Poppins" panose="00000500000000000000" pitchFamily="2" charset="0"/>
                </a:rPr>
                <a:t>Introduksjon og oppdateringer</a:t>
              </a:r>
            </a:p>
          </p:txBody>
        </p:sp>
        <p:sp>
          <p:nvSpPr>
            <p:cNvPr id="11" name="TekstSylinder 23">
              <a:extLst>
                <a:ext uri="{FF2B5EF4-FFF2-40B4-BE49-F238E27FC236}">
                  <a16:creationId xmlns:a16="http://schemas.microsoft.com/office/drawing/2014/main" id="{B6015537-A424-E936-A170-4F6D68DB8A54}"/>
                </a:ext>
              </a:extLst>
            </p:cNvPr>
            <p:cNvSpPr txBox="1"/>
            <p:nvPr/>
          </p:nvSpPr>
          <p:spPr>
            <a:xfrm>
              <a:off x="1600189" y="3764547"/>
              <a:ext cx="8410568" cy="28490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685800">
                <a:defRPr/>
              </a:pPr>
              <a:r>
                <a:rPr lang="nb-NO" sz="1200">
                  <a:solidFill>
                    <a:prstClr val="black"/>
                  </a:solidFill>
                  <a:latin typeface="Poppins" panose="00000500000000000000" pitchFamily="2" charset="0"/>
                  <a:cs typeface="Poppins" panose="00000500000000000000" pitchFamily="2" charset="0"/>
                </a:rPr>
                <a:t>Case</a:t>
              </a:r>
            </a:p>
          </p:txBody>
        </p:sp>
        <p:sp>
          <p:nvSpPr>
            <p:cNvPr id="12" name="Ellipse 16">
              <a:extLst>
                <a:ext uri="{FF2B5EF4-FFF2-40B4-BE49-F238E27FC236}">
                  <a16:creationId xmlns:a16="http://schemas.microsoft.com/office/drawing/2014/main" id="{C7353AA6-D1EC-3A43-71E0-AEA16598D188}"/>
                </a:ext>
              </a:extLst>
            </p:cNvPr>
            <p:cNvSpPr/>
            <p:nvPr/>
          </p:nvSpPr>
          <p:spPr>
            <a:xfrm>
              <a:off x="838200" y="4235647"/>
              <a:ext cx="414337" cy="338554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defRPr/>
              </a:pPr>
              <a:r>
                <a:rPr lang="nb-NO" sz="1200" b="1">
                  <a:solidFill>
                    <a:srgbClr val="0C4788"/>
                  </a:solidFill>
                  <a:latin typeface="Poppins" panose="00000500000000000000" pitchFamily="2" charset="0"/>
                  <a:cs typeface="Poppins" panose="00000500000000000000" pitchFamily="2" charset="0"/>
                </a:rPr>
                <a:t>5</a:t>
              </a:r>
            </a:p>
          </p:txBody>
        </p:sp>
        <p:sp>
          <p:nvSpPr>
            <p:cNvPr id="13" name="TekstSylinder 19">
              <a:extLst>
                <a:ext uri="{FF2B5EF4-FFF2-40B4-BE49-F238E27FC236}">
                  <a16:creationId xmlns:a16="http://schemas.microsoft.com/office/drawing/2014/main" id="{4C50CF6C-E2FF-5C35-DD7F-0B1EEAD038C1}"/>
                </a:ext>
              </a:extLst>
            </p:cNvPr>
            <p:cNvSpPr txBox="1"/>
            <p:nvPr/>
          </p:nvSpPr>
          <p:spPr>
            <a:xfrm>
              <a:off x="1600187" y="4281876"/>
              <a:ext cx="8410568" cy="28490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685800">
                <a:defRPr/>
              </a:pPr>
              <a:r>
                <a:rPr lang="nb-NO" sz="1200">
                  <a:solidFill>
                    <a:prstClr val="black"/>
                  </a:solidFill>
                  <a:latin typeface="Poppins" panose="00000500000000000000" pitchFamily="2" charset="0"/>
                  <a:cs typeface="Poppins" panose="00000500000000000000" pitchFamily="2" charset="0"/>
                </a:rPr>
                <a:t>Tilbakemeldinger, brukerstøtte og veien videre</a:t>
              </a:r>
            </a:p>
          </p:txBody>
        </p:sp>
        <p:sp>
          <p:nvSpPr>
            <p:cNvPr id="18" name="TekstSylinder 21">
              <a:extLst>
                <a:ext uri="{FF2B5EF4-FFF2-40B4-BE49-F238E27FC236}">
                  <a16:creationId xmlns:a16="http://schemas.microsoft.com/office/drawing/2014/main" id="{FFD6DAE8-354A-3279-272B-E4EB7061C701}"/>
                </a:ext>
              </a:extLst>
            </p:cNvPr>
            <p:cNvSpPr txBox="1"/>
            <p:nvPr/>
          </p:nvSpPr>
          <p:spPr>
            <a:xfrm>
              <a:off x="1600189" y="2736427"/>
              <a:ext cx="8410570" cy="28490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685800">
                <a:defRPr/>
              </a:pPr>
              <a:r>
                <a:rPr lang="nb-NO" sz="1200">
                  <a:solidFill>
                    <a:prstClr val="black"/>
                  </a:solidFill>
                  <a:latin typeface="Poppins" panose="00000500000000000000" pitchFamily="2" charset="0"/>
                  <a:cs typeface="Poppins" panose="00000500000000000000" pitchFamily="2" charset="0"/>
                </a:rPr>
                <a:t>Formå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15854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356AB8-252B-74EC-FAFD-079AE0B3DB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98339"/>
            <a:ext cx="7615382" cy="648512"/>
          </a:xfrm>
        </p:spPr>
        <p:txBody>
          <a:bodyPr/>
          <a:lstStyle/>
          <a:p>
            <a:r>
              <a:rPr lang="nb-NO"/>
              <a:t>Formå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5192DF-4834-744E-5E47-3ACF8A057A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021492"/>
            <a:ext cx="7728559" cy="3794443"/>
          </a:xfrm>
        </p:spPr>
        <p:txBody>
          <a:bodyPr vert="horz" lIns="68580" tIns="34290" rIns="68580" bIns="34290" rtlCol="0" anchor="t">
            <a:normAutofit/>
          </a:bodyPr>
          <a:lstStyle/>
          <a:p>
            <a:r>
              <a:rPr lang="nb-NO" dirty="0"/>
              <a:t>Sikre at deltakerne er godt rustet til å ta i bruk systemet innen 1. januar</a:t>
            </a:r>
          </a:p>
          <a:p>
            <a:r>
              <a:rPr lang="nb-NO" dirty="0"/>
              <a:t>Gi deltakerne praktisk erfaring med prosjektsøknadsmodulen</a:t>
            </a:r>
          </a:p>
          <a:p>
            <a:r>
              <a:rPr lang="nb-NO" dirty="0"/>
              <a:t>Gi deltakerne den nødvendige ferdighetene for å utføre sin rolle</a:t>
            </a:r>
          </a:p>
        </p:txBody>
      </p:sp>
    </p:spTree>
    <p:extLst>
      <p:ext uri="{BB962C8B-B14F-4D97-AF65-F5344CB8AC3E}">
        <p14:creationId xmlns:p14="http://schemas.microsoft.com/office/powerpoint/2010/main" val="3623079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704D538-544B-C43A-7940-0C9AD2BDBD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Prosjektsøknadsmodulen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6328C00D-85E7-B46E-4DE2-FEA09FD02C2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nb-NO"/>
              <a:t>Prosjektsøknadsmodulen er en del av Unit4 og vil være den løsningen som benyttes når et BOA-søknadsinitiativ registreres, budsjettering av søknaden og videre i flyt til godkjenning hos </a:t>
            </a:r>
            <a:r>
              <a:rPr lang="nb-NO" err="1"/>
              <a:t>kostnadsgodkjenner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067024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16456CD-9A51-4369-B624-AB0324D6E7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16456CD-9A51-4369-B624-AB0324D6E7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Group 14">
            <a:extLst>
              <a:ext uri="{FF2B5EF4-FFF2-40B4-BE49-F238E27FC236}">
                <a16:creationId xmlns:a16="http://schemas.microsoft.com/office/drawing/2014/main" id="{8E452B70-B9CD-44BD-BB5C-68E71953DB92}"/>
              </a:ext>
            </a:extLst>
          </p:cNvPr>
          <p:cNvGrpSpPr/>
          <p:nvPr/>
        </p:nvGrpSpPr>
        <p:grpSpPr>
          <a:xfrm>
            <a:off x="332340" y="3079426"/>
            <a:ext cx="2121114" cy="1254473"/>
            <a:chOff x="443120" y="4105901"/>
            <a:chExt cx="2828152" cy="1672630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AF1D2489-C699-487F-BA98-BA32D112E53D}"/>
                </a:ext>
              </a:extLst>
            </p:cNvPr>
            <p:cNvSpPr txBox="1"/>
            <p:nvPr/>
          </p:nvSpPr>
          <p:spPr>
            <a:xfrm>
              <a:off x="443120" y="5039867"/>
              <a:ext cx="2828152" cy="738664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766">
                <a:defRPr/>
              </a:pPr>
              <a:r>
                <a:rPr lang="nb-NO" sz="1050" b="1">
                  <a:solidFill>
                    <a:srgbClr val="000000"/>
                  </a:solidFill>
                  <a:latin typeface="Arial" panose="020B0604020202020204"/>
                </a:rPr>
                <a:t>Ledelsesinformasjon</a:t>
              </a:r>
            </a:p>
            <a:p>
              <a:pPr algn="ctr" defTabSz="685766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Oversikt over nødvendig styringsinformasjon</a:t>
              </a:r>
            </a:p>
          </p:txBody>
        </p:sp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1DB95787-A7AB-4B0C-822E-5CC753BDF13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1399996" y="4105901"/>
              <a:ext cx="914400" cy="914400"/>
            </a:xfrm>
            <a:prstGeom prst="rect">
              <a:avLst/>
            </a:prstGeom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506ACD6-C8C7-4095-B4A5-28178EBF1649}"/>
              </a:ext>
            </a:extLst>
          </p:cNvPr>
          <p:cNvGrpSpPr/>
          <p:nvPr/>
        </p:nvGrpSpPr>
        <p:grpSpPr>
          <a:xfrm>
            <a:off x="447636" y="994142"/>
            <a:ext cx="1890522" cy="1900803"/>
            <a:chOff x="596848" y="1325522"/>
            <a:chExt cx="2520696" cy="2534404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76D386B2-3A5D-4773-8A18-264187C799DC}"/>
                </a:ext>
              </a:extLst>
            </p:cNvPr>
            <p:cNvSpPr txBox="1"/>
            <p:nvPr/>
          </p:nvSpPr>
          <p:spPr>
            <a:xfrm>
              <a:off x="596848" y="2259488"/>
              <a:ext cx="2520696" cy="1600438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766">
                <a:defRPr/>
              </a:pPr>
              <a:r>
                <a:rPr lang="nb-NO" sz="1050" b="1" dirty="0">
                  <a:solidFill>
                    <a:srgbClr val="000000"/>
                  </a:solidFill>
                  <a:latin typeface="Arial" panose="020B0604020202020204"/>
                </a:rPr>
                <a:t>Gjenbruk av data  </a:t>
              </a:r>
              <a:br>
                <a:rPr lang="nb-NO" sz="1050" dirty="0">
                  <a:solidFill>
                    <a:srgbClr val="000000"/>
                  </a:solidFill>
                  <a:latin typeface="Arial" panose="020B0604020202020204"/>
                </a:rPr>
              </a:br>
              <a:r>
                <a:rPr lang="nb-NO" sz="1050" dirty="0"/>
                <a:t>Søknader kan registreres, modifiseres og overføres mellom moduler. Tidligere søknader kan kopieres og standardisert informasjon kan brukes</a:t>
              </a:r>
              <a:endParaRPr lang="nb-NO" sz="1050" dirty="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pic>
          <p:nvPicPr>
            <p:cNvPr id="26" name="Graphic 25" descr="Recycle with solid fill">
              <a:extLst>
                <a:ext uri="{FF2B5EF4-FFF2-40B4-BE49-F238E27FC236}">
                  <a16:creationId xmlns:a16="http://schemas.microsoft.com/office/drawing/2014/main" id="{801DFBE2-21DF-470B-9CEE-807B6154C7A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/>
          </p:blipFill>
          <p:spPr>
            <a:xfrm>
              <a:off x="1399997" y="1325522"/>
              <a:ext cx="914399" cy="914399"/>
            </a:xfrm>
            <a:prstGeom prst="rect">
              <a:avLst/>
            </a:prstGeom>
          </p:spPr>
        </p:pic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9DB2E70-F95F-419C-9EF0-495A09BA1556}"/>
              </a:ext>
            </a:extLst>
          </p:cNvPr>
          <p:cNvGrpSpPr/>
          <p:nvPr/>
        </p:nvGrpSpPr>
        <p:grpSpPr>
          <a:xfrm>
            <a:off x="2562635" y="994142"/>
            <a:ext cx="1890522" cy="1254473"/>
            <a:chOff x="3435885" y="1325522"/>
            <a:chExt cx="2520696" cy="1672631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AF06BB9D-CB52-4702-A173-CF44C4822B0F}"/>
                </a:ext>
              </a:extLst>
            </p:cNvPr>
            <p:cNvSpPr txBox="1"/>
            <p:nvPr/>
          </p:nvSpPr>
          <p:spPr>
            <a:xfrm>
              <a:off x="3435885" y="2259489"/>
              <a:ext cx="2520696" cy="738664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766">
                <a:defRPr/>
              </a:pPr>
              <a:r>
                <a:rPr lang="nb-NO" sz="1050" b="1">
                  <a:solidFill>
                    <a:srgbClr val="000000"/>
                  </a:solidFill>
                  <a:latin typeface="Arial" panose="020B0604020202020204"/>
                </a:rPr>
                <a:t>Standardiserte rapporter </a:t>
              </a:r>
              <a:r>
                <a:rPr lang="nb-NO" sz="1050" b="1"/>
                <a:t> </a:t>
              </a:r>
              <a:br>
                <a:rPr lang="nb-NO" sz="1050"/>
              </a:br>
              <a:r>
                <a:rPr lang="nb-NO" sz="1050"/>
                <a:t>Standardiserte søknadsmaler og -rapporter</a:t>
              </a:r>
              <a:endParaRPr lang="nb-NO" sz="1050">
                <a:cs typeface="Arial"/>
              </a:endParaRPr>
            </a:p>
          </p:txBody>
        </p:sp>
        <p:pic>
          <p:nvPicPr>
            <p:cNvPr id="28" name="Graphic 27" descr="Document with solid fill">
              <a:extLst>
                <a:ext uri="{FF2B5EF4-FFF2-40B4-BE49-F238E27FC236}">
                  <a16:creationId xmlns:a16="http://schemas.microsoft.com/office/drawing/2014/main" id="{7B9CA61D-80A4-4B02-BE8B-DC05FDF30D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/>
          </p:blipFill>
          <p:spPr>
            <a:xfrm>
              <a:off x="4243794" y="1325522"/>
              <a:ext cx="914399" cy="914399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4F1B097-517F-4888-B9CC-BCE08A6CB2EF}"/>
              </a:ext>
            </a:extLst>
          </p:cNvPr>
          <p:cNvGrpSpPr/>
          <p:nvPr/>
        </p:nvGrpSpPr>
        <p:grpSpPr>
          <a:xfrm>
            <a:off x="4677634" y="919184"/>
            <a:ext cx="1976192" cy="1975761"/>
            <a:chOff x="6274922" y="1225578"/>
            <a:chExt cx="2634923" cy="2634348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6ECE15F1-51D1-4F9D-9198-9251F1AB52B5}"/>
                </a:ext>
              </a:extLst>
            </p:cNvPr>
            <p:cNvSpPr txBox="1"/>
            <p:nvPr/>
          </p:nvSpPr>
          <p:spPr>
            <a:xfrm>
              <a:off x="6274922" y="2259488"/>
              <a:ext cx="2634923" cy="1600438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766">
                <a:defRPr/>
              </a:pPr>
              <a:r>
                <a:rPr lang="nb-NO" sz="1050" b="1">
                  <a:solidFill>
                    <a:srgbClr val="000000"/>
                  </a:solidFill>
                  <a:latin typeface="Arial" panose="020B0604020202020204"/>
                </a:rPr>
                <a:t>Felles løsning på universitetet og i BOTT </a:t>
              </a:r>
              <a:endParaRPr lang="nb-NO" sz="1350"/>
            </a:p>
            <a:p>
              <a:pPr algn="ctr" defTabSz="685766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Samarbeid på tvers av de store universitetene gir mulighet for å lære av hverandre og bli gode sammen</a:t>
              </a:r>
              <a:endParaRPr lang="nb-NO" sz="1350"/>
            </a:p>
          </p:txBody>
        </p:sp>
        <p:pic>
          <p:nvPicPr>
            <p:cNvPr id="30" name="Graphic 29" descr="Graduation cap outline">
              <a:extLst>
                <a:ext uri="{FF2B5EF4-FFF2-40B4-BE49-F238E27FC236}">
                  <a16:creationId xmlns:a16="http://schemas.microsoft.com/office/drawing/2014/main" id="{C9FA7032-FB73-4C0E-99C3-AAFCBA47824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rcRect/>
            <a:stretch/>
          </p:blipFill>
          <p:spPr>
            <a:xfrm>
              <a:off x="7087591" y="1225578"/>
              <a:ext cx="1014343" cy="1014343"/>
            </a:xfrm>
            <a:prstGeom prst="rect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9B3AC1B-D79E-4885-A6BB-203D831B05E4}"/>
              </a:ext>
            </a:extLst>
          </p:cNvPr>
          <p:cNvGrpSpPr/>
          <p:nvPr/>
        </p:nvGrpSpPr>
        <p:grpSpPr>
          <a:xfrm>
            <a:off x="4801738" y="3079426"/>
            <a:ext cx="1996355" cy="1746278"/>
            <a:chOff x="9228185" y="1325522"/>
            <a:chExt cx="2661807" cy="2328370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6865641E-625E-4872-B50E-6D1AA769E9E2}"/>
                </a:ext>
              </a:extLst>
            </p:cNvPr>
            <p:cNvSpPr txBox="1"/>
            <p:nvPr/>
          </p:nvSpPr>
          <p:spPr>
            <a:xfrm>
              <a:off x="9228185" y="2268897"/>
              <a:ext cx="2661807" cy="1384995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766">
                <a:defRPr/>
              </a:pPr>
              <a:r>
                <a:rPr lang="nb-NO" sz="1050" b="1">
                  <a:solidFill>
                    <a:srgbClr val="000000"/>
                  </a:solidFill>
                  <a:latin typeface="Arial" panose="020B0604020202020204"/>
                </a:rPr>
                <a:t>Godkjenning av BDM</a:t>
              </a:r>
            </a:p>
            <a:p>
              <a:pPr algn="ctr" defTabSz="685766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  <a:cs typeface="Arial"/>
                </a:rPr>
                <a:t>Søknader sendes på flyt til godkjenning og inkluderer budsjett, bindinger for instituttet og påvirkning av instituttøkonomien </a:t>
              </a:r>
            </a:p>
          </p:txBody>
        </p:sp>
        <p:pic>
          <p:nvPicPr>
            <p:cNvPr id="33" name="Graphic 32">
              <a:extLst>
                <a:ext uri="{FF2B5EF4-FFF2-40B4-BE49-F238E27FC236}">
                  <a16:creationId xmlns:a16="http://schemas.microsoft.com/office/drawing/2014/main" id="{A95FCC4B-0ECA-4AC8-86A8-B549C41819E1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rcRect/>
            <a:stretch/>
          </p:blipFill>
          <p:spPr>
            <a:xfrm>
              <a:off x="10031333" y="1325522"/>
              <a:ext cx="914399" cy="914399"/>
            </a:xfrm>
            <a:prstGeom prst="rect">
              <a:avLst/>
            </a:prstGeom>
          </p:spPr>
        </p:pic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9FFF032-62C0-4B7A-AD98-2CAE96F1D034}"/>
              </a:ext>
            </a:extLst>
          </p:cNvPr>
          <p:cNvGrpSpPr/>
          <p:nvPr/>
        </p:nvGrpSpPr>
        <p:grpSpPr>
          <a:xfrm>
            <a:off x="2682335" y="3079426"/>
            <a:ext cx="1890522" cy="1416056"/>
            <a:chOff x="3538370" y="4105901"/>
            <a:chExt cx="2520696" cy="1888075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C4BBB1F8-C1EB-472D-8F2E-42F32AC30944}"/>
                </a:ext>
              </a:extLst>
            </p:cNvPr>
            <p:cNvSpPr txBox="1"/>
            <p:nvPr/>
          </p:nvSpPr>
          <p:spPr>
            <a:xfrm>
              <a:off x="3538370" y="5039868"/>
              <a:ext cx="2520696" cy="954108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766">
                <a:defRPr/>
              </a:pPr>
              <a:r>
                <a:rPr lang="nb-NO" sz="1050" b="1">
                  <a:solidFill>
                    <a:srgbClr val="000000"/>
                  </a:solidFill>
                  <a:latin typeface="Arial" panose="020B0604020202020204"/>
                </a:rPr>
                <a:t>Bedre prognoser og langtidsbudsjetter</a:t>
              </a:r>
              <a:br>
                <a:rPr lang="nb-NO" sz="1050">
                  <a:solidFill>
                    <a:srgbClr val="000000"/>
                  </a:solidFill>
                  <a:latin typeface="Arial" panose="020B0604020202020204"/>
                </a:rPr>
              </a:b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Gir informasjon om fremtidig BOA-aktiviteter</a:t>
              </a:r>
            </a:p>
          </p:txBody>
        </p:sp>
        <p:pic>
          <p:nvPicPr>
            <p:cNvPr id="37" name="Graphic 36">
              <a:extLst>
                <a:ext uri="{FF2B5EF4-FFF2-40B4-BE49-F238E27FC236}">
                  <a16:creationId xmlns:a16="http://schemas.microsoft.com/office/drawing/2014/main" id="{4E7A5789-A15D-4289-A440-86AE3BB1FFF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rcRect/>
            <a:stretch/>
          </p:blipFill>
          <p:spPr>
            <a:xfrm>
              <a:off x="4277109" y="4105901"/>
              <a:ext cx="914399" cy="914399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C92F8674-8D93-4B40-B1D7-15A9CE3BF9DF}"/>
              </a:ext>
            </a:extLst>
          </p:cNvPr>
          <p:cNvGrpSpPr/>
          <p:nvPr/>
        </p:nvGrpSpPr>
        <p:grpSpPr>
          <a:xfrm>
            <a:off x="6878303" y="996742"/>
            <a:ext cx="1976192" cy="1416056"/>
            <a:chOff x="6326164" y="4105901"/>
            <a:chExt cx="2634923" cy="1888075"/>
          </a:xfrm>
        </p:grpSpPr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B17A6D2A-92C8-46D9-BFEC-160AB05E1950}"/>
                </a:ext>
              </a:extLst>
            </p:cNvPr>
            <p:cNvSpPr txBox="1"/>
            <p:nvPr/>
          </p:nvSpPr>
          <p:spPr>
            <a:xfrm>
              <a:off x="6326164" y="5039868"/>
              <a:ext cx="2634923" cy="954108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766">
                <a:defRPr/>
              </a:pPr>
              <a:r>
                <a:rPr lang="nb-NO" sz="1050" b="1">
                  <a:solidFill>
                    <a:srgbClr val="000000"/>
                  </a:solidFill>
                  <a:latin typeface="Arial" panose="020B0604020202020204"/>
                </a:rPr>
                <a:t>Transparent løsning</a:t>
              </a:r>
              <a:br>
                <a:rPr lang="nb-NO" sz="1050">
                  <a:solidFill>
                    <a:srgbClr val="000000"/>
                  </a:solidFill>
                  <a:latin typeface="Arial" panose="020B0604020202020204"/>
                </a:rPr>
              </a:b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Full oversikt over alle søknader pr. institutt, fakultet og institusjon </a:t>
              </a:r>
            </a:p>
          </p:txBody>
        </p:sp>
        <p:pic>
          <p:nvPicPr>
            <p:cNvPr id="42" name="Graphic 41" descr="Open book outline">
              <a:extLst>
                <a:ext uri="{FF2B5EF4-FFF2-40B4-BE49-F238E27FC236}">
                  <a16:creationId xmlns:a16="http://schemas.microsoft.com/office/drawing/2014/main" id="{39A93C63-691C-4B8B-9600-C399554E9B1E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rcRect/>
            <a:stretch/>
          </p:blipFill>
          <p:spPr>
            <a:xfrm>
              <a:off x="7154221" y="4105901"/>
              <a:ext cx="914399" cy="914399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DA635DD-B5BD-4902-BE94-BEAE3A4BAFDA}"/>
              </a:ext>
            </a:extLst>
          </p:cNvPr>
          <p:cNvGrpSpPr/>
          <p:nvPr/>
        </p:nvGrpSpPr>
        <p:grpSpPr>
          <a:xfrm>
            <a:off x="6921139" y="3094101"/>
            <a:ext cx="1890522" cy="1401380"/>
            <a:chOff x="9228185" y="4125469"/>
            <a:chExt cx="2520696" cy="1868507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0B3AE5BA-FB38-4365-9175-4D27FDC9E0DA}"/>
                </a:ext>
              </a:extLst>
            </p:cNvPr>
            <p:cNvSpPr txBox="1"/>
            <p:nvPr/>
          </p:nvSpPr>
          <p:spPr>
            <a:xfrm>
              <a:off x="9228185" y="5039868"/>
              <a:ext cx="2520696" cy="954108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766">
                <a:defRPr/>
              </a:pPr>
              <a:r>
                <a:rPr lang="nb-NO" sz="1050" b="1">
                  <a:solidFill>
                    <a:srgbClr val="000000"/>
                  </a:solidFill>
                  <a:latin typeface="Arial" panose="020B0604020202020204"/>
                </a:rPr>
                <a:t>Etterlevelse av BOA-reglement</a:t>
              </a:r>
              <a:br>
                <a:rPr lang="nb-NO" sz="1050" b="1">
                  <a:solidFill>
                    <a:srgbClr val="000000"/>
                  </a:solidFill>
                  <a:latin typeface="Arial" panose="020B0604020202020204"/>
                </a:rPr>
              </a:b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Habilitet, faglig forankring og gode rutiner</a:t>
              </a:r>
              <a:endParaRPr lang="nb-NO" sz="1050" b="1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pic>
          <p:nvPicPr>
            <p:cNvPr id="45" name="Graphic 44" descr="Court outline">
              <a:extLst>
                <a:ext uri="{FF2B5EF4-FFF2-40B4-BE49-F238E27FC236}">
                  <a16:creationId xmlns:a16="http://schemas.microsoft.com/office/drawing/2014/main" id="{BCD4E6C1-2A6A-481F-B787-12EA1BA30CCA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rcRect/>
            <a:stretch/>
          </p:blipFill>
          <p:spPr>
            <a:xfrm>
              <a:off x="10031333" y="4125469"/>
              <a:ext cx="914399" cy="914399"/>
            </a:xfrm>
            <a:prstGeom prst="rect">
              <a:avLst/>
            </a:prstGeom>
          </p:spPr>
        </p:pic>
      </p:grpSp>
      <p:sp>
        <p:nvSpPr>
          <p:cNvPr id="2" name="Tittel 1">
            <a:extLst>
              <a:ext uri="{FF2B5EF4-FFF2-40B4-BE49-F238E27FC236}">
                <a16:creationId xmlns:a16="http://schemas.microsoft.com/office/drawing/2014/main" id="{D2B8C6D6-4BC7-C1E3-1F60-A51D43C42A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646331"/>
          </a:xfrm>
        </p:spPr>
        <p:txBody>
          <a:bodyPr/>
          <a:lstStyle/>
          <a:p>
            <a:r>
              <a:rPr lang="nb-NO" dirty="0"/>
              <a:t>Hvorfor prosjektsøknadsmodulen?​</a:t>
            </a:r>
          </a:p>
        </p:txBody>
      </p:sp>
    </p:spTree>
    <p:extLst>
      <p:ext uri="{BB962C8B-B14F-4D97-AF65-F5344CB8AC3E}">
        <p14:creationId xmlns:p14="http://schemas.microsoft.com/office/powerpoint/2010/main" val="22419993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3E2071AD-D6B2-4DFF-A839-F98C4200B5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9347"/>
            <a:ext cx="8428092" cy="648512"/>
          </a:xfrm>
        </p:spPr>
        <p:txBody>
          <a:bodyPr/>
          <a:lstStyle/>
          <a:p>
            <a:r>
              <a:rPr lang="nb-NO"/>
              <a:t>Plan NTNU</a:t>
            </a:r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81EF5EB5-5814-F4BE-687F-CC371071520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09277637"/>
              </p:ext>
            </p:extLst>
          </p:nvPr>
        </p:nvGraphicFramePr>
        <p:xfrm>
          <a:off x="28590" y="2111373"/>
          <a:ext cx="9086822" cy="7089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Arrow: Pentagon 132">
            <a:extLst>
              <a:ext uri="{FF2B5EF4-FFF2-40B4-BE49-F238E27FC236}">
                <a16:creationId xmlns:a16="http://schemas.microsoft.com/office/drawing/2014/main" id="{1EFF7F04-FF5E-23E6-AFBE-2809C728F5F2}"/>
              </a:ext>
            </a:extLst>
          </p:cNvPr>
          <p:cNvSpPr/>
          <p:nvPr/>
        </p:nvSpPr>
        <p:spPr bwMode="gray">
          <a:xfrm>
            <a:off x="28590" y="2953682"/>
            <a:ext cx="1920593" cy="184665"/>
          </a:xfrm>
          <a:prstGeom prst="homePlat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 defTabSz="685766">
              <a:lnSpc>
                <a:spcPct val="106000"/>
              </a:lnSpc>
              <a:defRPr/>
            </a:pPr>
            <a:r>
              <a:rPr lang="nb-NO" sz="6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lanlegging</a:t>
            </a:r>
          </a:p>
        </p:txBody>
      </p:sp>
      <p:sp>
        <p:nvSpPr>
          <p:cNvPr id="9" name="Arrow: Chevron 133">
            <a:extLst>
              <a:ext uri="{FF2B5EF4-FFF2-40B4-BE49-F238E27FC236}">
                <a16:creationId xmlns:a16="http://schemas.microsoft.com/office/drawing/2014/main" id="{422CE2EE-1A06-BF6F-028C-2E3F65CD043C}"/>
              </a:ext>
            </a:extLst>
          </p:cNvPr>
          <p:cNvSpPr/>
          <p:nvPr/>
        </p:nvSpPr>
        <p:spPr bwMode="gray">
          <a:xfrm>
            <a:off x="1953384" y="2951923"/>
            <a:ext cx="2386671" cy="184196"/>
          </a:xfrm>
          <a:prstGeom prst="chevron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 defTabSz="685766">
              <a:lnSpc>
                <a:spcPct val="106000"/>
              </a:lnSpc>
              <a:defRPr/>
            </a:pPr>
            <a:r>
              <a:rPr lang="nb-NO" sz="7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rosjektfase</a:t>
            </a:r>
          </a:p>
        </p:txBody>
      </p:sp>
      <p:sp>
        <p:nvSpPr>
          <p:cNvPr id="11" name="Diamond 100">
            <a:extLst>
              <a:ext uri="{FF2B5EF4-FFF2-40B4-BE49-F238E27FC236}">
                <a16:creationId xmlns:a16="http://schemas.microsoft.com/office/drawing/2014/main" id="{BD5C7A5B-2FB0-C081-7891-24716E4B7622}"/>
              </a:ext>
            </a:extLst>
          </p:cNvPr>
          <p:cNvSpPr/>
          <p:nvPr/>
        </p:nvSpPr>
        <p:spPr>
          <a:xfrm>
            <a:off x="158412" y="1458710"/>
            <a:ext cx="178708" cy="180000"/>
          </a:xfrm>
          <a:prstGeom prst="rect">
            <a:avLst/>
          </a:prstGeom>
          <a:solidFill>
            <a:srgbClr val="ED801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>
              <a:defRPr/>
            </a:pPr>
            <a:endParaRPr lang="nb-NO" b="1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2" name="Rectangle 145">
            <a:extLst>
              <a:ext uri="{FF2B5EF4-FFF2-40B4-BE49-F238E27FC236}">
                <a16:creationId xmlns:a16="http://schemas.microsoft.com/office/drawing/2014/main" id="{528BFBE6-1F9A-AED5-4BBD-67D220B71BBF}"/>
              </a:ext>
            </a:extLst>
          </p:cNvPr>
          <p:cNvSpPr/>
          <p:nvPr/>
        </p:nvSpPr>
        <p:spPr>
          <a:xfrm>
            <a:off x="1611069" y="1465075"/>
            <a:ext cx="178708" cy="180000"/>
          </a:xfrm>
          <a:prstGeom prst="rect">
            <a:avLst/>
          </a:prstGeom>
          <a:solidFill>
            <a:schemeClr val="accent1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>
              <a:defRPr/>
            </a:pPr>
            <a:endParaRPr lang="nb-NO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3" name="TextBox 146">
            <a:extLst>
              <a:ext uri="{FF2B5EF4-FFF2-40B4-BE49-F238E27FC236}">
                <a16:creationId xmlns:a16="http://schemas.microsoft.com/office/drawing/2014/main" id="{1296FF79-A316-1D4E-E73C-EAFE038CF170}"/>
              </a:ext>
            </a:extLst>
          </p:cNvPr>
          <p:cNvSpPr txBox="1"/>
          <p:nvPr/>
        </p:nvSpPr>
        <p:spPr>
          <a:xfrm>
            <a:off x="335602" y="1454177"/>
            <a:ext cx="1179481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78">
              <a:defRPr/>
            </a:pPr>
            <a:r>
              <a:rPr lang="nb-NO" sz="825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Lokalt</a:t>
            </a:r>
          </a:p>
        </p:txBody>
      </p:sp>
      <p:sp>
        <p:nvSpPr>
          <p:cNvPr id="15" name="TextBox 147">
            <a:extLst>
              <a:ext uri="{FF2B5EF4-FFF2-40B4-BE49-F238E27FC236}">
                <a16:creationId xmlns:a16="http://schemas.microsoft.com/office/drawing/2014/main" id="{6F1FDD13-0610-B93D-2607-CC0E21E4B9FC}"/>
              </a:ext>
            </a:extLst>
          </p:cNvPr>
          <p:cNvSpPr txBox="1"/>
          <p:nvPr/>
        </p:nvSpPr>
        <p:spPr>
          <a:xfrm>
            <a:off x="1745505" y="1454996"/>
            <a:ext cx="1535986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78">
              <a:defRPr/>
            </a:pPr>
            <a:r>
              <a:rPr lang="nb-NO" sz="825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rosjekt</a:t>
            </a:r>
          </a:p>
        </p:txBody>
      </p:sp>
      <p:sp>
        <p:nvSpPr>
          <p:cNvPr id="16" name="Arrow: Chevron 133">
            <a:extLst>
              <a:ext uri="{FF2B5EF4-FFF2-40B4-BE49-F238E27FC236}">
                <a16:creationId xmlns:a16="http://schemas.microsoft.com/office/drawing/2014/main" id="{482FFCE7-06E7-54A6-EFF7-7C34E760C574}"/>
              </a:ext>
            </a:extLst>
          </p:cNvPr>
          <p:cNvSpPr/>
          <p:nvPr/>
        </p:nvSpPr>
        <p:spPr bwMode="gray">
          <a:xfrm>
            <a:off x="1107889" y="3220561"/>
            <a:ext cx="814388" cy="179810"/>
          </a:xfrm>
          <a:prstGeom prst="chevron">
            <a:avLst/>
          </a:prstGeom>
          <a:solidFill>
            <a:srgbClr val="ED801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>
              <a:lnSpc>
                <a:spcPct val="106000"/>
              </a:lnSpc>
              <a:defRPr/>
            </a:pPr>
            <a:r>
              <a:rPr lang="nb-NO" sz="6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kseptansetest</a:t>
            </a:r>
          </a:p>
        </p:txBody>
      </p:sp>
      <p:cxnSp>
        <p:nvCxnSpPr>
          <p:cNvPr id="23" name="Kobling: buet 22">
            <a:extLst>
              <a:ext uri="{FF2B5EF4-FFF2-40B4-BE49-F238E27FC236}">
                <a16:creationId xmlns:a16="http://schemas.microsoft.com/office/drawing/2014/main" id="{570D466B-1A72-AB5C-975B-692E4B887ACC}"/>
              </a:ext>
            </a:extLst>
          </p:cNvPr>
          <p:cNvCxnSpPr>
            <a:cxnSpLocks/>
            <a:stCxn id="9" idx="0"/>
          </p:cNvCxnSpPr>
          <p:nvPr/>
        </p:nvCxnSpPr>
        <p:spPr>
          <a:xfrm rot="5400000" flipH="1" flipV="1">
            <a:off x="3215229" y="2729437"/>
            <a:ext cx="107928" cy="337044"/>
          </a:xfrm>
          <a:prstGeom prst="curvedConnector2">
            <a:avLst/>
          </a:prstGeom>
          <a:ln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Diamond 84">
            <a:extLst>
              <a:ext uri="{FF2B5EF4-FFF2-40B4-BE49-F238E27FC236}">
                <a16:creationId xmlns:a16="http://schemas.microsoft.com/office/drawing/2014/main" id="{C659E7C5-4703-984F-E5B2-2F1E322A0677}"/>
              </a:ext>
            </a:extLst>
          </p:cNvPr>
          <p:cNvSpPr/>
          <p:nvPr/>
        </p:nvSpPr>
        <p:spPr>
          <a:xfrm>
            <a:off x="2004047" y="2141664"/>
            <a:ext cx="178708" cy="188094"/>
          </a:xfrm>
          <a:prstGeom prst="diamond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>
              <a:defRPr/>
            </a:pPr>
            <a:endParaRPr lang="nb-NO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29" name="TekstSylinder 28">
            <a:extLst>
              <a:ext uri="{FF2B5EF4-FFF2-40B4-BE49-F238E27FC236}">
                <a16:creationId xmlns:a16="http://schemas.microsoft.com/office/drawing/2014/main" id="{DDE096A7-C0F4-D64D-20DF-A2D8874801D6}"/>
              </a:ext>
            </a:extLst>
          </p:cNvPr>
          <p:cNvSpPr txBox="1"/>
          <p:nvPr/>
        </p:nvSpPr>
        <p:spPr>
          <a:xfrm>
            <a:off x="2329829" y="1760833"/>
            <a:ext cx="60625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8">
              <a:defRPr/>
            </a:pPr>
            <a:r>
              <a:rPr lang="nb-NO" sz="900">
                <a:solidFill>
                  <a:prstClr val="black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Go-live</a:t>
            </a:r>
          </a:p>
        </p:txBody>
      </p:sp>
      <p:cxnSp>
        <p:nvCxnSpPr>
          <p:cNvPr id="31" name="Kobling: buet 30">
            <a:extLst>
              <a:ext uri="{FF2B5EF4-FFF2-40B4-BE49-F238E27FC236}">
                <a16:creationId xmlns:a16="http://schemas.microsoft.com/office/drawing/2014/main" id="{D435BDD5-B8C1-0996-5B82-4553AC61D1BD}"/>
              </a:ext>
            </a:extLst>
          </p:cNvPr>
          <p:cNvCxnSpPr>
            <a:stCxn id="29" idx="1"/>
            <a:endCxn id="25" idx="0"/>
          </p:cNvCxnSpPr>
          <p:nvPr/>
        </p:nvCxnSpPr>
        <p:spPr>
          <a:xfrm rot="10800000" flipV="1">
            <a:off x="2093401" y="1876248"/>
            <a:ext cx="236428" cy="265415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2" name="Arrow: Chevron 133">
            <a:extLst>
              <a:ext uri="{FF2B5EF4-FFF2-40B4-BE49-F238E27FC236}">
                <a16:creationId xmlns:a16="http://schemas.microsoft.com/office/drawing/2014/main" id="{20DF8D73-0257-5D80-5FF7-C462893B1444}"/>
              </a:ext>
            </a:extLst>
          </p:cNvPr>
          <p:cNvSpPr/>
          <p:nvPr/>
        </p:nvSpPr>
        <p:spPr bwMode="gray">
          <a:xfrm>
            <a:off x="5391151" y="2956309"/>
            <a:ext cx="3724260" cy="179810"/>
          </a:xfrm>
          <a:prstGeom prst="chevron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 defTabSz="685766">
              <a:lnSpc>
                <a:spcPct val="106000"/>
              </a:lnSpc>
              <a:defRPr/>
            </a:pPr>
            <a:r>
              <a:rPr lang="nb-NO" sz="6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Oppfølging</a:t>
            </a:r>
          </a:p>
        </p:txBody>
      </p:sp>
      <p:sp>
        <p:nvSpPr>
          <p:cNvPr id="5" name="Arrow: Chevron 133">
            <a:extLst>
              <a:ext uri="{FF2B5EF4-FFF2-40B4-BE49-F238E27FC236}">
                <a16:creationId xmlns:a16="http://schemas.microsoft.com/office/drawing/2014/main" id="{4E55CDF4-8348-8DD9-E820-E7E10D0FD5BB}"/>
              </a:ext>
            </a:extLst>
          </p:cNvPr>
          <p:cNvSpPr/>
          <p:nvPr/>
        </p:nvSpPr>
        <p:spPr bwMode="gray">
          <a:xfrm>
            <a:off x="809626" y="2624343"/>
            <a:ext cx="3963032" cy="204245"/>
          </a:xfrm>
          <a:prstGeom prst="chevron">
            <a:avLst/>
          </a:prstGeom>
          <a:solidFill>
            <a:srgbClr val="ED8013"/>
          </a:solidFill>
          <a:ln w="762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>
              <a:defRPr/>
            </a:pPr>
            <a:r>
              <a:rPr lang="nb-NO" sz="6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Kommunikasjon</a:t>
            </a:r>
          </a:p>
        </p:txBody>
      </p:sp>
      <p:sp>
        <p:nvSpPr>
          <p:cNvPr id="6" name="Arrow: Chevron 133">
            <a:extLst>
              <a:ext uri="{FF2B5EF4-FFF2-40B4-BE49-F238E27FC236}">
                <a16:creationId xmlns:a16="http://schemas.microsoft.com/office/drawing/2014/main" id="{E7270FD8-EE69-12E8-23A4-B80F26F92C48}"/>
              </a:ext>
            </a:extLst>
          </p:cNvPr>
          <p:cNvSpPr/>
          <p:nvPr/>
        </p:nvSpPr>
        <p:spPr bwMode="gray">
          <a:xfrm>
            <a:off x="5238750" y="3487084"/>
            <a:ext cx="3182084" cy="179810"/>
          </a:xfrm>
          <a:prstGeom prst="chevron">
            <a:avLst/>
          </a:prstGeom>
          <a:solidFill>
            <a:srgbClr val="ED8013"/>
          </a:solidFill>
          <a:ln w="762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>
              <a:defRPr/>
            </a:pPr>
            <a:r>
              <a:rPr lang="nb-NO" sz="7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Hoved-innføring NTNU</a:t>
            </a:r>
          </a:p>
        </p:txBody>
      </p:sp>
      <p:sp>
        <p:nvSpPr>
          <p:cNvPr id="7" name="Arrow: Chevron 133">
            <a:extLst>
              <a:ext uri="{FF2B5EF4-FFF2-40B4-BE49-F238E27FC236}">
                <a16:creationId xmlns:a16="http://schemas.microsoft.com/office/drawing/2014/main" id="{9E3E7199-0D11-553D-3DC0-E4B87E3EE7C8}"/>
              </a:ext>
            </a:extLst>
          </p:cNvPr>
          <p:cNvSpPr/>
          <p:nvPr/>
        </p:nvSpPr>
        <p:spPr bwMode="gray">
          <a:xfrm>
            <a:off x="5057775" y="2627329"/>
            <a:ext cx="3363059" cy="188094"/>
          </a:xfrm>
          <a:prstGeom prst="chevron">
            <a:avLst/>
          </a:prstGeom>
          <a:solidFill>
            <a:srgbClr val="ED801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>
              <a:defRPr/>
            </a:pPr>
            <a:r>
              <a:rPr lang="nb-NO" sz="6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Opplæring alle NTNU</a:t>
            </a:r>
          </a:p>
        </p:txBody>
      </p:sp>
      <p:sp>
        <p:nvSpPr>
          <p:cNvPr id="17" name="Arrow: Chevron 133">
            <a:extLst>
              <a:ext uri="{FF2B5EF4-FFF2-40B4-BE49-F238E27FC236}">
                <a16:creationId xmlns:a16="http://schemas.microsoft.com/office/drawing/2014/main" id="{E2652A5F-87A0-E616-5BB1-69C6E9694861}"/>
              </a:ext>
            </a:extLst>
          </p:cNvPr>
          <p:cNvSpPr/>
          <p:nvPr/>
        </p:nvSpPr>
        <p:spPr bwMode="gray">
          <a:xfrm>
            <a:off x="158412" y="3220561"/>
            <a:ext cx="814388" cy="179810"/>
          </a:xfrm>
          <a:prstGeom prst="chevron">
            <a:avLst/>
          </a:prstGeom>
          <a:solidFill>
            <a:srgbClr val="ED801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>
              <a:lnSpc>
                <a:spcPct val="106000"/>
              </a:lnSpc>
              <a:defRPr/>
            </a:pPr>
            <a:r>
              <a:rPr lang="nb-NO" sz="6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esign-sprint</a:t>
            </a:r>
          </a:p>
        </p:txBody>
      </p:sp>
      <p:sp>
        <p:nvSpPr>
          <p:cNvPr id="18" name="Diamond 84">
            <a:extLst>
              <a:ext uri="{FF2B5EF4-FFF2-40B4-BE49-F238E27FC236}">
                <a16:creationId xmlns:a16="http://schemas.microsoft.com/office/drawing/2014/main" id="{6FE3B650-914F-B88B-4B89-55A5629150B5}"/>
              </a:ext>
            </a:extLst>
          </p:cNvPr>
          <p:cNvSpPr/>
          <p:nvPr/>
        </p:nvSpPr>
        <p:spPr>
          <a:xfrm>
            <a:off x="7952892" y="2174986"/>
            <a:ext cx="178708" cy="188094"/>
          </a:xfrm>
          <a:prstGeom prst="diamond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>
              <a:defRPr/>
            </a:pPr>
            <a:endParaRPr lang="nb-NO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20" name="TekstSylinder 19">
            <a:extLst>
              <a:ext uri="{FF2B5EF4-FFF2-40B4-BE49-F238E27FC236}">
                <a16:creationId xmlns:a16="http://schemas.microsoft.com/office/drawing/2014/main" id="{3C1417D8-098F-93BE-7692-AC7050426828}"/>
              </a:ext>
            </a:extLst>
          </p:cNvPr>
          <p:cNvSpPr txBox="1"/>
          <p:nvPr/>
        </p:nvSpPr>
        <p:spPr>
          <a:xfrm>
            <a:off x="7424813" y="1510093"/>
            <a:ext cx="84561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8">
              <a:defRPr/>
            </a:pPr>
            <a:r>
              <a:rPr lang="nb-NO" sz="900" dirty="0">
                <a:solidFill>
                  <a:prstClr val="black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lle nye søknader i systemet</a:t>
            </a:r>
          </a:p>
        </p:txBody>
      </p:sp>
      <p:sp>
        <p:nvSpPr>
          <p:cNvPr id="19" name="Arrow: Chevron 133">
            <a:extLst>
              <a:ext uri="{FF2B5EF4-FFF2-40B4-BE49-F238E27FC236}">
                <a16:creationId xmlns:a16="http://schemas.microsoft.com/office/drawing/2014/main" id="{D8CFC968-051C-D742-23D8-DFEB1D371325}"/>
              </a:ext>
            </a:extLst>
          </p:cNvPr>
          <p:cNvSpPr/>
          <p:nvPr/>
        </p:nvSpPr>
        <p:spPr bwMode="gray">
          <a:xfrm>
            <a:off x="2057366" y="3220561"/>
            <a:ext cx="900755" cy="416023"/>
          </a:xfrm>
          <a:prstGeom prst="chevron">
            <a:avLst/>
          </a:prstGeom>
          <a:solidFill>
            <a:srgbClr val="ED801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178">
              <a:defRPr/>
            </a:pPr>
            <a:r>
              <a:rPr lang="nb-NO" sz="60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Opplæring første runde</a:t>
            </a:r>
          </a:p>
        </p:txBody>
      </p:sp>
      <p:sp>
        <p:nvSpPr>
          <p:cNvPr id="22" name="Diamond 84">
            <a:extLst>
              <a:ext uri="{FF2B5EF4-FFF2-40B4-BE49-F238E27FC236}">
                <a16:creationId xmlns:a16="http://schemas.microsoft.com/office/drawing/2014/main" id="{FE8E1212-B2D2-8A78-5263-69DC6B460F55}"/>
              </a:ext>
            </a:extLst>
          </p:cNvPr>
          <p:cNvSpPr/>
          <p:nvPr/>
        </p:nvSpPr>
        <p:spPr>
          <a:xfrm>
            <a:off x="7477592" y="2178390"/>
            <a:ext cx="178708" cy="188094"/>
          </a:xfrm>
          <a:prstGeom prst="diamond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>
              <a:defRPr/>
            </a:pPr>
            <a:endParaRPr lang="nb-NO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24" name="TekstSylinder 23">
            <a:extLst>
              <a:ext uri="{FF2B5EF4-FFF2-40B4-BE49-F238E27FC236}">
                <a16:creationId xmlns:a16="http://schemas.microsoft.com/office/drawing/2014/main" id="{62947116-4479-1912-DDBA-8F5F277DFDAA}"/>
              </a:ext>
            </a:extLst>
          </p:cNvPr>
          <p:cNvSpPr txBox="1"/>
          <p:nvPr/>
        </p:nvSpPr>
        <p:spPr>
          <a:xfrm>
            <a:off x="6586377" y="1459165"/>
            <a:ext cx="9658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8">
              <a:defRPr/>
            </a:pPr>
            <a:r>
              <a:rPr lang="nb-NO" sz="900">
                <a:solidFill>
                  <a:prstClr val="black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ases (opplæring)</a:t>
            </a:r>
          </a:p>
        </p:txBody>
      </p:sp>
      <p:cxnSp>
        <p:nvCxnSpPr>
          <p:cNvPr id="28" name="Kobling: buet 27">
            <a:extLst>
              <a:ext uri="{FF2B5EF4-FFF2-40B4-BE49-F238E27FC236}">
                <a16:creationId xmlns:a16="http://schemas.microsoft.com/office/drawing/2014/main" id="{9B6BD9B3-15EC-E2A7-F450-ADB7ED2AA741}"/>
              </a:ext>
            </a:extLst>
          </p:cNvPr>
          <p:cNvCxnSpPr>
            <a:cxnSpLocks/>
            <a:stCxn id="24" idx="1"/>
            <a:endCxn id="22" idx="0"/>
          </p:cNvCxnSpPr>
          <p:nvPr/>
        </p:nvCxnSpPr>
        <p:spPr>
          <a:xfrm rot="10800000" flipH="1" flipV="1">
            <a:off x="6586376" y="1643830"/>
            <a:ext cx="980569" cy="534559"/>
          </a:xfrm>
          <a:prstGeom prst="curvedConnector4">
            <a:avLst>
              <a:gd name="adj1" fmla="val -23313"/>
              <a:gd name="adj2" fmla="val 67273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Kobling: buet 32">
            <a:extLst>
              <a:ext uri="{FF2B5EF4-FFF2-40B4-BE49-F238E27FC236}">
                <a16:creationId xmlns:a16="http://schemas.microsoft.com/office/drawing/2014/main" id="{C5ACE9DC-0BD1-D15D-24A8-377C6F1594FF}"/>
              </a:ext>
            </a:extLst>
          </p:cNvPr>
          <p:cNvCxnSpPr>
            <a:cxnSpLocks/>
          </p:cNvCxnSpPr>
          <p:nvPr/>
        </p:nvCxnSpPr>
        <p:spPr>
          <a:xfrm rot="16200000" flipH="1">
            <a:off x="7709183" y="1930992"/>
            <a:ext cx="193270" cy="392342"/>
          </a:xfrm>
          <a:prstGeom prst="curvedConnector2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9" name="Diamond 84">
            <a:extLst>
              <a:ext uri="{FF2B5EF4-FFF2-40B4-BE49-F238E27FC236}">
                <a16:creationId xmlns:a16="http://schemas.microsoft.com/office/drawing/2014/main" id="{8D2C1D66-6EAD-E16B-D325-B19A3D467A3C}"/>
              </a:ext>
            </a:extLst>
          </p:cNvPr>
          <p:cNvSpPr/>
          <p:nvPr/>
        </p:nvSpPr>
        <p:spPr>
          <a:xfrm>
            <a:off x="8606901" y="2174986"/>
            <a:ext cx="178708" cy="188094"/>
          </a:xfrm>
          <a:prstGeom prst="diamond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>
              <a:defRPr/>
            </a:pPr>
            <a:endParaRPr lang="nb-NO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40" name="TekstSylinder 39">
            <a:extLst>
              <a:ext uri="{FF2B5EF4-FFF2-40B4-BE49-F238E27FC236}">
                <a16:creationId xmlns:a16="http://schemas.microsoft.com/office/drawing/2014/main" id="{35B7E6A9-4077-A2E3-BC4A-5CF6786A4DFF}"/>
              </a:ext>
            </a:extLst>
          </p:cNvPr>
          <p:cNvSpPr txBox="1"/>
          <p:nvPr/>
        </p:nvSpPr>
        <p:spPr>
          <a:xfrm>
            <a:off x="8467353" y="1632802"/>
            <a:ext cx="5902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8">
              <a:defRPr/>
            </a:pPr>
            <a:r>
              <a:rPr lang="nb-NO" sz="900">
                <a:solidFill>
                  <a:prstClr val="black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aste-</a:t>
            </a:r>
            <a:br>
              <a:rPr lang="nb-NO" sz="900">
                <a:solidFill>
                  <a:prstClr val="black"/>
                </a:solidFill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lang="nb-NO" sz="900">
                <a:solidFill>
                  <a:prstClr val="black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aféer </a:t>
            </a:r>
          </a:p>
        </p:txBody>
      </p:sp>
      <p:cxnSp>
        <p:nvCxnSpPr>
          <p:cNvPr id="41" name="Kobling: buet 40">
            <a:extLst>
              <a:ext uri="{FF2B5EF4-FFF2-40B4-BE49-F238E27FC236}">
                <a16:creationId xmlns:a16="http://schemas.microsoft.com/office/drawing/2014/main" id="{3ADC4DD7-9DE4-0166-4D1C-9A1F8D6A7966}"/>
              </a:ext>
            </a:extLst>
          </p:cNvPr>
          <p:cNvCxnSpPr>
            <a:cxnSpLocks/>
            <a:stCxn id="40" idx="2"/>
            <a:endCxn id="39" idx="0"/>
          </p:cNvCxnSpPr>
          <p:nvPr/>
        </p:nvCxnSpPr>
        <p:spPr>
          <a:xfrm rot="5400000">
            <a:off x="8642935" y="2055455"/>
            <a:ext cx="172852" cy="66211"/>
          </a:xfrm>
          <a:prstGeom prst="curved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40844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62B22F1-CC9E-2B6E-87A4-947C11EDBC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usk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D1793088-6135-5EBA-05B6-46DDF94F6D5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/>
              <a:t>Alle søknader med frist </a:t>
            </a:r>
            <a:r>
              <a:rPr lang="nb-NO" dirty="0" err="1"/>
              <a:t>fom</a:t>
            </a:r>
            <a:r>
              <a:rPr lang="nb-NO" dirty="0"/>
              <a:t> 1. januar skal legges inn</a:t>
            </a:r>
          </a:p>
          <a:p>
            <a:r>
              <a:rPr lang="nb-NO" dirty="0"/>
              <a:t>Godkjenning (BDM) av søknad i Unit4 før søknad sendes inn</a:t>
            </a:r>
          </a:p>
          <a:p>
            <a:r>
              <a:rPr lang="nb-NO" dirty="0"/>
              <a:t>Nye </a:t>
            </a:r>
            <a:r>
              <a:rPr lang="nb-NO" dirty="0" err="1"/>
              <a:t>fagcaféer</a:t>
            </a:r>
            <a:r>
              <a:rPr lang="nb-NO" dirty="0"/>
              <a:t> i januar og/eller februar etter behov </a:t>
            </a:r>
          </a:p>
        </p:txBody>
      </p:sp>
    </p:spTree>
    <p:extLst>
      <p:ext uri="{BB962C8B-B14F-4D97-AF65-F5344CB8AC3E}">
        <p14:creationId xmlns:p14="http://schemas.microsoft.com/office/powerpoint/2010/main" val="35732088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100470E-241E-1962-9323-25A4BBB109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Initiering av søknader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6A0F90C9-82DF-7150-CCEA-34305D4B28E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668982" cy="3394472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nb-NO" dirty="0"/>
              <a:t>Hvorfor?</a:t>
            </a:r>
          </a:p>
          <a:p>
            <a:r>
              <a:rPr lang="nb-NO" dirty="0"/>
              <a:t>All info lett tilgjengelig</a:t>
            </a:r>
          </a:p>
          <a:p>
            <a:r>
              <a:rPr lang="nb-NO" dirty="0"/>
              <a:t>Svar på bekreftelsesspørsmål fra PL</a:t>
            </a:r>
          </a:p>
          <a:p>
            <a:pPr marL="0" indent="0">
              <a:buNone/>
            </a:pPr>
            <a:endParaRPr lang="nb-NO" dirty="0"/>
          </a:p>
          <a:p>
            <a:pPr marL="0" indent="0">
              <a:buNone/>
            </a:pPr>
            <a:r>
              <a:rPr lang="nb-NO" dirty="0"/>
              <a:t>Forslag:</a:t>
            </a:r>
          </a:p>
          <a:p>
            <a:r>
              <a:rPr lang="nb-NO" dirty="0"/>
              <a:t>MachForm </a:t>
            </a:r>
          </a:p>
          <a:p>
            <a:r>
              <a:rPr lang="nb-NO" dirty="0"/>
              <a:t>Word-dokument</a:t>
            </a:r>
          </a:p>
          <a:p>
            <a:r>
              <a:rPr lang="nb-NO" dirty="0"/>
              <a:t>SharePoint-liste/skjema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E23190B2-2BDA-1CDF-0FCE-247C220467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95469" y="0"/>
            <a:ext cx="3148531" cy="5407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11050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4">
            <a:extLst>
              <a:ext uri="{FF2B5EF4-FFF2-40B4-BE49-F238E27FC236}">
                <a16:creationId xmlns:a16="http://schemas.microsoft.com/office/drawing/2014/main" id="{9A8C7D5E-850F-415F-308A-B9EE73AEC4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harePoint-liste/skjema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CED07761-8184-66A3-F91E-C651341B8C7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9950" y="832505"/>
            <a:ext cx="5847138" cy="214165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b-NO" sz="2000" dirty="0">
                <a:hlinkClick r:id="rId2"/>
              </a:rPr>
              <a:t>Project </a:t>
            </a:r>
            <a:r>
              <a:rPr lang="nb-NO" sz="2000" dirty="0" err="1">
                <a:hlinkClick r:id="rId2"/>
              </a:rPr>
              <a:t>Initiation</a:t>
            </a:r>
            <a:r>
              <a:rPr lang="nb-NO" sz="2000" dirty="0">
                <a:hlinkClick r:id="rId2"/>
              </a:rPr>
              <a:t> </a:t>
            </a:r>
            <a:r>
              <a:rPr lang="nb-NO" sz="2000" dirty="0" err="1">
                <a:hlinkClick r:id="rId2"/>
              </a:rPr>
              <a:t>Template_Mal</a:t>
            </a:r>
            <a:endParaRPr lang="nb-NO" sz="2000" dirty="0"/>
          </a:p>
          <a:p>
            <a:pPr>
              <a:spcBef>
                <a:spcPts val="0"/>
              </a:spcBef>
            </a:pPr>
            <a:r>
              <a:rPr lang="nb-NO" sz="1600" dirty="0">
                <a:effectLst/>
                <a:latin typeface="Calibri" panose="020F0502020204030204" pitchFamily="34" charset="0"/>
              </a:rPr>
              <a:t>Lag ny liste, Fra eksisterende liste</a:t>
            </a:r>
          </a:p>
          <a:p>
            <a:pPr>
              <a:spcBef>
                <a:spcPts val="0"/>
              </a:spcBef>
            </a:pPr>
            <a:r>
              <a:rPr lang="nb-NO" sz="1600" dirty="0">
                <a:effectLst/>
                <a:latin typeface="Calibri" panose="020F0502020204030204" pitchFamily="34" charset="0"/>
              </a:rPr>
              <a:t>Velg malen: Gå til følgende Team i venstre navigasjon: Project </a:t>
            </a:r>
            <a:r>
              <a:rPr lang="nb-NO" sz="1600" dirty="0" err="1">
                <a:effectLst/>
                <a:latin typeface="Calibri" panose="020F0502020204030204" pitchFamily="34" charset="0"/>
              </a:rPr>
              <a:t>Initiation</a:t>
            </a:r>
            <a:r>
              <a:rPr lang="nb-NO" sz="1600" dirty="0">
                <a:effectLst/>
                <a:latin typeface="Calibri" panose="020F0502020204030204" pitchFamily="34" charset="0"/>
              </a:rPr>
              <a:t> List, så velg Project </a:t>
            </a:r>
            <a:r>
              <a:rPr lang="nb-NO" sz="1600" dirty="0" err="1">
                <a:effectLst/>
                <a:latin typeface="Calibri" panose="020F0502020204030204" pitchFamily="34" charset="0"/>
              </a:rPr>
              <a:t>Initiation</a:t>
            </a:r>
            <a:r>
              <a:rPr lang="nb-NO" sz="1600" dirty="0">
                <a:effectLst/>
                <a:latin typeface="Calibri" panose="020F0502020204030204" pitchFamily="34" charset="0"/>
              </a:rPr>
              <a:t> </a:t>
            </a:r>
            <a:r>
              <a:rPr lang="nb-NO" sz="1600" dirty="0" err="1">
                <a:effectLst/>
                <a:latin typeface="Calibri" panose="020F0502020204030204" pitchFamily="34" charset="0"/>
              </a:rPr>
              <a:t>Template_mal</a:t>
            </a:r>
            <a:r>
              <a:rPr lang="nb-NO" sz="1600" dirty="0">
                <a:latin typeface="Calibri" panose="020F0502020204030204" pitchFamily="34" charset="0"/>
              </a:rPr>
              <a:t>. </a:t>
            </a:r>
            <a:r>
              <a:rPr lang="nb-NO" sz="1600" dirty="0">
                <a:effectLst/>
                <a:latin typeface="Calibri" panose="020F0502020204030204" pitchFamily="34" charset="0"/>
              </a:rPr>
              <a:t>(Kolonner, visninger og formatering blir kopiert over til den nye listen)</a:t>
            </a:r>
          </a:p>
          <a:p>
            <a:pPr>
              <a:spcBef>
                <a:spcPts val="0"/>
              </a:spcBef>
            </a:pPr>
            <a:r>
              <a:rPr lang="nb-NO" sz="1600" dirty="0">
                <a:effectLst/>
                <a:latin typeface="Calibri" panose="020F0502020204030204" pitchFamily="34" charset="0"/>
              </a:rPr>
              <a:t>Legg inn navn på den nye lista. </a:t>
            </a:r>
          </a:p>
          <a:p>
            <a:pPr>
              <a:spcBef>
                <a:spcPts val="0"/>
              </a:spcBef>
            </a:pPr>
            <a:r>
              <a:rPr lang="nb-NO" sz="1600" dirty="0">
                <a:effectLst/>
                <a:latin typeface="Calibri" panose="020F0502020204030204" pitchFamily="34" charset="0"/>
              </a:rPr>
              <a:t>Opprett</a:t>
            </a:r>
          </a:p>
          <a:p>
            <a:pPr marL="0" indent="0">
              <a:buNone/>
            </a:pPr>
            <a:endParaRPr lang="nb-NO" dirty="0"/>
          </a:p>
        </p:txBody>
      </p:sp>
      <p:pic>
        <p:nvPicPr>
          <p:cNvPr id="12" name="Bilde 11">
            <a:extLst>
              <a:ext uri="{FF2B5EF4-FFF2-40B4-BE49-F238E27FC236}">
                <a16:creationId xmlns:a16="http://schemas.microsoft.com/office/drawing/2014/main" id="{786910B1-F165-18A7-E0C4-5CA62B1AC1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950" y="2791021"/>
            <a:ext cx="7565721" cy="2971939"/>
          </a:xfrm>
          <a:prstGeom prst="rect">
            <a:avLst/>
          </a:prstGeom>
        </p:spPr>
      </p:pic>
      <p:pic>
        <p:nvPicPr>
          <p:cNvPr id="10" name="Bilde 9">
            <a:extLst>
              <a:ext uri="{FF2B5EF4-FFF2-40B4-BE49-F238E27FC236}">
                <a16:creationId xmlns:a16="http://schemas.microsoft.com/office/drawing/2014/main" id="{DBAAE018-8B1D-4A6D-CE79-AB99A730057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0384" t="10934"/>
          <a:stretch/>
        </p:blipFill>
        <p:spPr>
          <a:xfrm>
            <a:off x="6043808" y="626300"/>
            <a:ext cx="3100192" cy="4435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47498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nu_16_9" id="{85FF4AD1-7FE2-7C44-B48B-6970A3AAF856}" vid="{2428F606-780E-0346-BA3B-59B224E3FCC0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EB207DB6B5D4A4FBB5511EFC0E37EA8" ma:contentTypeVersion="30" ma:contentTypeDescription="Opprett et nytt dokument." ma:contentTypeScope="" ma:versionID="f2008c5c67d4baab09de5d9b7902ff0b">
  <xsd:schema xmlns:xsd="http://www.w3.org/2001/XMLSchema" xmlns:xs="http://www.w3.org/2001/XMLSchema" xmlns:p="http://schemas.microsoft.com/office/2006/metadata/properties" xmlns:ns2="39305c67-9142-496e-8c16-332a734d5b4b" xmlns:ns3="c625bf1d-6d7f-4ff0-b55a-2fa261e23531" xmlns:ns4="4a688d42-d923-4f06-9c11-bb83d725936f" targetNamespace="http://schemas.microsoft.com/office/2006/metadata/properties" ma:root="true" ma:fieldsID="4de4b2c70a21cbc524ed2db0223a24fb" ns2:_="" ns3:_="" ns4:_="">
    <xsd:import namespace="39305c67-9142-496e-8c16-332a734d5b4b"/>
    <xsd:import namespace="c625bf1d-6d7f-4ff0-b55a-2fa261e23531"/>
    <xsd:import namespace="4a688d42-d923-4f06-9c11-bb83d725936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4:TaxCatchAll" minOccurs="0"/>
                <xsd:element ref="ns2:Prosesskategori" minOccurs="0"/>
                <xsd:element ref="ns2:BOTT_x002d_referanser" minOccurs="0"/>
                <xsd:element ref="ns2:MediaServiceObjectDetectorVersions" minOccurs="0"/>
                <xsd:element ref="ns2:DF_x00d8_saksnr" minOccurs="0"/>
                <xsd:element ref="ns2:Hovedprosess" minOccurs="0"/>
                <xsd:element ref="ns2:StatusKPN" minOccurs="0"/>
                <xsd:element ref="ns2:kobling" minOccurs="0"/>
                <xsd:element ref="ns2:_Flow_Signoff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9305c67-9142-496e-8c16-332a734d5b4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emerkelapper" ma:readOnly="false" ma:fieldId="{5cf76f15-5ced-4ddc-b409-7134ff3c332f}" ma:taxonomyMulti="true" ma:sspId="6e7bc199-5fe5-462f-a3d8-26f806c1f49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Prosesskategori" ma:index="24" nillable="true" ma:displayName="Prosesskategori" ma:description="Velg prosesskategori" ma:format="Dropdown" ma:indexed="true" ma:internalName="Prosesskategori">
      <xsd:simpleType>
        <xsd:restriction base="dms:Choice">
          <xsd:enumeration value="Administrasjon"/>
          <xsd:enumeration value="Lønn"/>
          <xsd:enumeration value="Økonomi"/>
          <xsd:enumeration value="Styring og rapportering"/>
          <xsd:enumeration value="Felles rammeverk"/>
        </xsd:restriction>
      </xsd:simpleType>
    </xsd:element>
    <xsd:element name="BOTT_x002d_referanser" ma:index="25" nillable="true" ma:displayName="BOTT-referanser" ma:description="Referanse til REST-nr, Jira og BOT nummer fra utviklingsfasen" ma:format="Dropdown" ma:internalName="BOTT_x002d_referanser">
      <xsd:simpleType>
        <xsd:restriction base="dms:Text">
          <xsd:maxLength value="255"/>
        </xsd:restriction>
      </xsd:simpleType>
    </xsd:element>
    <xsd:element name="MediaServiceObjectDetectorVersions" ma:index="2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DF_x00d8_saksnr" ma:index="27" nillable="true" ma:displayName="DFØ saksnr" ma:description="Saksnummer i DFØ kundesenter på nett. Primært på BOTT kunden" ma:format="Dropdown" ma:internalName="DF_x00d8_saksnr">
      <xsd:simpleType>
        <xsd:restriction base="dms:Text">
          <xsd:maxLength value="20"/>
        </xsd:restriction>
      </xsd:simpleType>
    </xsd:element>
    <xsd:element name="Hovedprosess" ma:index="28" nillable="true" ma:displayName="Hovedprosess" ma:description="Velg hovedprosess" ma:format="Dropdown" ma:internalName="Hovedprosess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0.1 Adm. av prosessroller"/>
                    <xsd:enumeration value="2.1 Ansettelse til avgang"/>
                    <xsd:enumeration value="2.2 Organisasjon"/>
                    <xsd:enumeration value="2.3 Utbetaling og off.rapportering"/>
                    <xsd:enumeration value="2.4 Lønnsrefusjoner"/>
                    <xsd:enumeration value="2.5 Reiser og utlegg"/>
                    <xsd:enumeration value="2.6 Tid og ferie"/>
                    <xsd:enumeration value="3.1 Behov til betaling"/>
                    <xsd:enumeration value="3.2 Anleggsmidler"/>
                    <xsd:enumeration value="3.3 Fordring til innbetaling"/>
                    <xsd:enumeration value="3.4 Prosjektøkonomi"/>
                    <xsd:enumeration value="3.5 Andre økonomiprosesser"/>
                    <xsd:enumeration value="3.6 Periodeavslutnng"/>
                    <xsd:enumeration value="3.7 Finansregnskapsrapportering"/>
                    <xsd:enumeration value="4.1 Strategi og mål"/>
                    <xsd:enumeration value="4.2 Økonomisk ramme"/>
                    <xsd:enumeration value="4.3 Budsjettering"/>
                    <xsd:enumeration value="5.0 Systemforvaltning"/>
                    <xsd:enumeration value="5.1 BOTT-INT"/>
                    <xsd:enumeration value="Valg 21"/>
                  </xsd:restriction>
                </xsd:simpleType>
              </xsd:element>
            </xsd:sequence>
          </xsd:extension>
        </xsd:complexContent>
      </xsd:complexType>
    </xsd:element>
    <xsd:element name="StatusKPN" ma:index="29" nillable="true" ma:displayName="Status KPN" ma:description="Hvilken status saken har i DFØ kundesenter på nett" ma:format="Dropdown" ma:internalName="StatusKPN">
      <xsd:simpleType>
        <xsd:restriction base="dms:Choice">
          <xsd:enumeration value="Aktiv"/>
          <xsd:enumeration value="Under arbeid"/>
          <xsd:enumeration value="Venter på kunde"/>
          <xsd:enumeration value="Avsluttet"/>
          <xsd:enumeration value="Utsatt"/>
        </xsd:restriction>
      </xsd:simpleType>
    </xsd:element>
    <xsd:element name="kobling" ma:index="30" nillable="true" ma:displayName="kobling" ma:format="Hyperlink" ma:internalName="kobling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Flow_SignoffStatus" ma:index="31" nillable="true" ma:displayName="Godkjenningsstatus" ma:internalName="Godkjenningsstatus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625bf1d-6d7f-4ff0-b55a-2fa261e23531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a688d42-d923-4f06-9c11-bb83d725936f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e02e6b76-d6fa-4b9b-a3e9-54ad3d051efb}" ma:internalName="TaxCatchAll" ma:showField="CatchAllData" ma:web="4a688d42-d923-4f06-9c11-bb83d725936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Flow_SignoffStatus xmlns="39305c67-9142-496e-8c16-332a734d5b4b" xsi:nil="true"/>
    <Hovedprosess xmlns="39305c67-9142-496e-8c16-332a734d5b4b" xsi:nil="true"/>
    <BOTT_x002d_referanser xmlns="39305c67-9142-496e-8c16-332a734d5b4b" xsi:nil="true"/>
    <DF_x00d8_saksnr xmlns="39305c67-9142-496e-8c16-332a734d5b4b" xsi:nil="true"/>
    <Prosesskategori xmlns="39305c67-9142-496e-8c16-332a734d5b4b" xsi:nil="true"/>
    <kobling xmlns="39305c67-9142-496e-8c16-332a734d5b4b">
      <Url xsi:nil="true"/>
      <Description xsi:nil="true"/>
    </kobling>
    <TaxCatchAll xmlns="4a688d42-d923-4f06-9c11-bb83d725936f" xsi:nil="true"/>
    <StatusKPN xmlns="39305c67-9142-496e-8c16-332a734d5b4b" xsi:nil="true"/>
    <lcf76f155ced4ddcb4097134ff3c332f xmlns="39305c67-9142-496e-8c16-332a734d5b4b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0D6E2C5C-FC7E-479A-9F97-CCB61AB7F7E6}">
  <ds:schemaRefs>
    <ds:schemaRef ds:uri="39305c67-9142-496e-8c16-332a734d5b4b"/>
    <ds:schemaRef ds:uri="4a688d42-d923-4f06-9c11-bb83d725936f"/>
    <ds:schemaRef ds:uri="c625bf1d-6d7f-4ff0-b55a-2fa261e2353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0F4D37BF-A878-4862-A87C-756BD11615A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5336155-8323-4394-8142-890D7713F4AE}">
  <ds:schemaRefs>
    <ds:schemaRef ds:uri="http://schemas.microsoft.com/office/2006/documentManagement/types"/>
    <ds:schemaRef ds:uri="http://schemas.microsoft.com/office/infopath/2007/PartnerControls"/>
    <ds:schemaRef ds:uri="4a688d42-d923-4f06-9c11-bb83d725936f"/>
    <ds:schemaRef ds:uri="http://purl.org/dc/elements/1.1/"/>
    <ds:schemaRef ds:uri="http://schemas.microsoft.com/office/2006/metadata/properties"/>
    <ds:schemaRef ds:uri="c625bf1d-6d7f-4ff0-b55a-2fa261e23531"/>
    <ds:schemaRef ds:uri="39305c67-9142-496e-8c16-332a734d5b4b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tnu_16_9</Template>
  <TotalTime>0</TotalTime>
  <Words>874</Words>
  <Application>Microsoft Office PowerPoint</Application>
  <PresentationFormat>Skjermfremvisning (16:9)</PresentationFormat>
  <Paragraphs>117</Paragraphs>
  <Slides>13</Slides>
  <Notes>2</Notes>
  <HiddenSlides>0</HiddenSlides>
  <MMClips>0</MMClips>
  <ScaleCrop>false</ScaleCrop>
  <HeadingPairs>
    <vt:vector size="8" baseType="variant">
      <vt:variant>
        <vt:lpstr>Brukte skrifter</vt:lpstr>
      </vt:variant>
      <vt:variant>
        <vt:i4>4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3</vt:i4>
      </vt:variant>
    </vt:vector>
  </HeadingPairs>
  <TitlesOfParts>
    <vt:vector size="19" baseType="lpstr">
      <vt:lpstr>Arial</vt:lpstr>
      <vt:lpstr>Calibri</vt:lpstr>
      <vt:lpstr>Calibri Light</vt:lpstr>
      <vt:lpstr>Poppins</vt:lpstr>
      <vt:lpstr>Office-tema</vt:lpstr>
      <vt:lpstr>think-cell Slide</vt:lpstr>
      <vt:lpstr>Fagkafé og spørretime i Prosjektsøknads-modulen i Unit4: For Søknadsregistrerere</vt:lpstr>
      <vt:lpstr>Agenda</vt:lpstr>
      <vt:lpstr>Formål</vt:lpstr>
      <vt:lpstr>Prosjektsøknadsmodulen</vt:lpstr>
      <vt:lpstr>Hvorfor prosjektsøknadsmodulen?​</vt:lpstr>
      <vt:lpstr>Plan NTNU</vt:lpstr>
      <vt:lpstr>Husk</vt:lpstr>
      <vt:lpstr>Initiering av søknader</vt:lpstr>
      <vt:lpstr>SharePoint-liste/skjema</vt:lpstr>
      <vt:lpstr>Case – Søknadsregistrering </vt:lpstr>
      <vt:lpstr>Generelle tips til bruk av Unit4</vt:lpstr>
      <vt:lpstr>Hvor finner du mer info</vt:lpstr>
      <vt:lpstr>Takk for  deltakelsen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gkafé og spørretime i Prosjektsøknads-modulen i Unit4: For Søknadsregistrerere</dc:title>
  <dc:creator>Ida Kristin Antonsen</dc:creator>
  <cp:lastModifiedBy>Ida Kristin Antonsen</cp:lastModifiedBy>
  <cp:revision>1</cp:revision>
  <dcterms:created xsi:type="dcterms:W3CDTF">2023-12-12T12:45:38Z</dcterms:created>
  <dcterms:modified xsi:type="dcterms:W3CDTF">2023-12-14T09:16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EB207DB6B5D4A4FBB5511EFC0E37EA8</vt:lpwstr>
  </property>
  <property fmtid="{D5CDD505-2E9C-101B-9397-08002B2CF9AE}" pid="3" name="MediaServiceImageTags">
    <vt:lpwstr/>
  </property>
</Properties>
</file>